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4"/>
  </p:notesMasterIdLst>
  <p:handoutMasterIdLst>
    <p:handoutMasterId r:id="rId15"/>
  </p:handoutMasterIdLst>
  <p:sldIdLst>
    <p:sldId id="256" r:id="rId5"/>
    <p:sldId id="257" r:id="rId6"/>
    <p:sldId id="259" r:id="rId7"/>
    <p:sldId id="1706" r:id="rId8"/>
    <p:sldId id="1709" r:id="rId9"/>
    <p:sldId id="1707" r:id="rId10"/>
    <p:sldId id="1708" r:id="rId11"/>
    <p:sldId id="1710" r:id="rId12"/>
    <p:sldId id="1711" r:id="rId13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000000"/>
    <a:srgbClr val="FDC304"/>
    <a:srgbClr val="82CBD4"/>
    <a:srgbClr val="EF7E05"/>
    <a:srgbClr val="1BACE4"/>
    <a:srgbClr val="E6E6E6"/>
    <a:srgbClr val="1D1E1C"/>
    <a:srgbClr val="E20C18"/>
    <a:srgbClr val="FAA8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59" autoAdjust="0"/>
    <p:restoredTop sz="96357" autoAdjust="0"/>
  </p:normalViewPr>
  <p:slideViewPr>
    <p:cSldViewPr snapToGrid="0">
      <p:cViewPr varScale="1">
        <p:scale>
          <a:sx n="63" d="100"/>
          <a:sy n="63" d="100"/>
        </p:scale>
        <p:origin x="764" y="64"/>
      </p:cViewPr>
      <p:guideLst>
        <p:guide orient="horz" pos="527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83" d="100"/>
          <a:sy n="83" d="100"/>
        </p:scale>
        <p:origin x="2107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381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CB-4223-9EE0-9DCDC0E4FC09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DCB-4223-9EE0-9DCDC0E4FC09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7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DCB-4223-9EE0-9DCDC0E4FC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  <c:holeSize val="9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1/12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1/12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6830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84751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661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8" b="2298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9563333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86" b="10899"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286903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1" b="7871"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893303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4091656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27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178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072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32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42562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33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684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813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341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717F39-47F1-4EAA-855A-E6C0063F243B}"/>
              </a:ext>
            </a:extLst>
          </p:cNvPr>
          <p:cNvSpPr/>
          <p:nvPr userDrawn="1"/>
        </p:nvSpPr>
        <p:spPr>
          <a:xfrm>
            <a:off x="0" y="6563145"/>
            <a:ext cx="1769165" cy="2948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n>
                <a:solidFill>
                  <a:schemeClr val="bg1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963380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824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5967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363930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11" b="4785"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9063019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5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893057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56237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9" b="12020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176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5333574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054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2"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62811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11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08330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0816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685" r:id="rId2"/>
    <p:sldLayoutId id="2147483753" r:id="rId3"/>
    <p:sldLayoutId id="2147483754" r:id="rId4"/>
    <p:sldLayoutId id="2147483755" r:id="rId5"/>
    <p:sldLayoutId id="2147483738" r:id="rId6"/>
    <p:sldLayoutId id="2147483740" r:id="rId7"/>
    <p:sldLayoutId id="2147483742" r:id="rId8"/>
    <p:sldLayoutId id="2147483723" r:id="rId9"/>
    <p:sldLayoutId id="2147483741" r:id="rId10"/>
    <p:sldLayoutId id="2147483767" r:id="rId11"/>
    <p:sldLayoutId id="2147483691" r:id="rId12"/>
    <p:sldLayoutId id="2147483760" r:id="rId13"/>
    <p:sldLayoutId id="2147483761" r:id="rId14"/>
    <p:sldLayoutId id="2147483734" r:id="rId15"/>
    <p:sldLayoutId id="2147483762" r:id="rId16"/>
    <p:sldLayoutId id="2147483739" r:id="rId17"/>
    <p:sldLayoutId id="2147483763" r:id="rId18"/>
    <p:sldLayoutId id="2147483764" r:id="rId19"/>
    <p:sldLayoutId id="2147483765" r:id="rId20"/>
    <p:sldLayoutId id="2147483766" r:id="rId21"/>
    <p:sldLayoutId id="2147483722" r:id="rId22"/>
    <p:sldLayoutId id="2147483724" r:id="rId23"/>
    <p:sldLayoutId id="2147483725" r:id="rId24"/>
    <p:sldLayoutId id="2147483726" r:id="rId25"/>
    <p:sldLayoutId id="2147483721" r:id="rId26"/>
    <p:sldLayoutId id="2147483744" r:id="rId27"/>
    <p:sldLayoutId id="2147483745" r:id="rId28"/>
    <p:sldLayoutId id="2147483746" r:id="rId29"/>
    <p:sldLayoutId id="2147483768" r:id="rId30"/>
    <p:sldLayoutId id="2147483711" r:id="rId31"/>
    <p:sldLayoutId id="2147483712" r:id="rId32"/>
    <p:sldLayoutId id="2147483713" r:id="rId33"/>
    <p:sldLayoutId id="2147483714" r:id="rId34"/>
    <p:sldLayoutId id="2147483715" r:id="rId35"/>
    <p:sldLayoutId id="2147483756" r:id="rId36"/>
    <p:sldLayoutId id="2147483733" r:id="rId37"/>
    <p:sldLayoutId id="2147483757" r:id="rId38"/>
    <p:sldLayoutId id="2147483758" r:id="rId39"/>
    <p:sldLayoutId id="2147483759" r:id="rId40"/>
    <p:sldLayoutId id="2147483737" r:id="rId4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Relationship Id="rId6" Type="http://schemas.openxmlformats.org/officeDocument/2006/relationships/image" Target="../media/image24.jpg"/><Relationship Id="rId5" Type="http://schemas.openxmlformats.org/officeDocument/2006/relationships/chart" Target="../charts/chart1.xml"/><Relationship Id="rId4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29.png"/><Relationship Id="rId3" Type="http://schemas.openxmlformats.org/officeDocument/2006/relationships/tags" Target="../tags/tag4.xml"/><Relationship Id="rId21" Type="http://schemas.openxmlformats.org/officeDocument/2006/relationships/image" Target="../media/image32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8.png"/><Relationship Id="rId2" Type="http://schemas.openxmlformats.org/officeDocument/2006/relationships/tags" Target="../tags/tag3.xml"/><Relationship Id="rId16" Type="http://schemas.openxmlformats.org/officeDocument/2006/relationships/image" Target="../media/image27.png"/><Relationship Id="rId20" Type="http://schemas.openxmlformats.org/officeDocument/2006/relationships/image" Target="../media/image31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26.png"/><Relationship Id="rId10" Type="http://schemas.openxmlformats.org/officeDocument/2006/relationships/tags" Target="../tags/tag11.xml"/><Relationship Id="rId19" Type="http://schemas.openxmlformats.org/officeDocument/2006/relationships/image" Target="../media/image30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8.xml"/><Relationship Id="rId22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88C49-0DAD-4BBE-826D-05A86D1241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/>
              <a:t>MACHINEABLE POSTCARDS AND ONE PIECE MAILING GUIDE WITH TEST AND INNOV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E9565C-F586-4D9D-AFE0-0534F97A23D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/>
              <a:t>Wholesa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8E9F119-D3A0-4762-9612-88306364393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latin typeface="Calibri"/>
                <a:cs typeface="Calibri"/>
              </a:rPr>
              <a:t>January 2024</a:t>
            </a:r>
          </a:p>
        </p:txBody>
      </p:sp>
    </p:spTree>
    <p:extLst>
      <p:ext uri="{BB962C8B-B14F-4D97-AF65-F5344CB8AC3E}">
        <p14:creationId xmlns:p14="http://schemas.microsoft.com/office/powerpoint/2010/main" val="980003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FE0B54-FACA-474F-8B4D-F8CFEFC041B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GB" sz="2000" dirty="0"/>
              <a:t>MACHINEABLE POSTCAR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21A4E82-0B55-4750-90DA-1734D4EBDD1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GB" sz="2000" dirty="0"/>
              <a:t>ONE PIECE PAPER WRAP MAIL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929E66-AD73-4B09-987C-C90D8DF35AF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sz="2000" dirty="0"/>
              <a:t>FEATURE MAIL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53B54A5-F61F-49D1-B1AC-70D3C2F168E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r>
              <a:rPr lang="en-GB" sz="2000" dirty="0"/>
              <a:t>COUPON MAIL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164669-B71B-437A-B2F6-1F0915880A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99" y="414000"/>
            <a:ext cx="9105262" cy="475686"/>
          </a:xfrm>
        </p:spPr>
        <p:txBody>
          <a:bodyPr/>
          <a:lstStyle/>
          <a:p>
            <a:r>
              <a:rPr lang="en-US" dirty="0"/>
              <a:t>Advertising mail test &amp; innova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F315B8-3D01-4002-9E37-DB5795ADC6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chinable Postcards and 3 lightweight formats available to use </a:t>
            </a:r>
          </a:p>
          <a:p>
            <a:endParaRPr lang="en-US" dirty="0"/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990CD076-2280-43D9-8D33-8D4692CD8E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047" y="3538802"/>
            <a:ext cx="1909883" cy="12334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One-Piece Personalised Mailers | YM Group">
            <a:extLst>
              <a:ext uri="{FF2B5EF4-FFF2-40B4-BE49-F238E27FC236}">
                <a16:creationId xmlns:a16="http://schemas.microsoft.com/office/drawing/2014/main" id="{250C6780-2247-47AD-BA56-93A3CE2F0D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2767" y="3543979"/>
            <a:ext cx="2189001" cy="164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940661E-14F1-4363-ABC4-B287FA92A280}"/>
              </a:ext>
            </a:extLst>
          </p:cNvPr>
          <p:cNvSpPr txBox="1"/>
          <p:nvPr/>
        </p:nvSpPr>
        <p:spPr>
          <a:xfrm>
            <a:off x="9325802" y="6420437"/>
            <a:ext cx="22429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Zappost.com and </a:t>
            </a:r>
            <a:r>
              <a:rPr lang="en-GB" sz="1100" dirty="0" err="1"/>
              <a:t>YMGroup</a:t>
            </a:r>
            <a:endParaRPr lang="en-GB" sz="11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5037347-32CE-4503-95F2-256486BAD1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349" t="59598" r="57711" b="21560"/>
          <a:stretch/>
        </p:blipFill>
        <p:spPr>
          <a:xfrm>
            <a:off x="3748487" y="3324303"/>
            <a:ext cx="1951707" cy="20811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F904C2B7-C7EB-40F1-90B0-16034471C1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5904" t="59598" r="44156" b="23695"/>
          <a:stretch/>
        </p:blipFill>
        <p:spPr>
          <a:xfrm>
            <a:off x="6440063" y="3446943"/>
            <a:ext cx="2146878" cy="202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976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EE214C-783C-4535-8631-2A77BA9F2B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pic>
        <p:nvPicPr>
          <p:cNvPr id="9" name="Graphic 8" descr="Arrow circle">
            <a:extLst>
              <a:ext uri="{FF2B5EF4-FFF2-40B4-BE49-F238E27FC236}">
                <a16:creationId xmlns:a16="http://schemas.microsoft.com/office/drawing/2014/main" id="{674D9BEB-6015-41AE-B0AF-74FC47E75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451" y="4600912"/>
            <a:ext cx="1781907" cy="17819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0AD5C505-15AE-42C8-B312-BD56102494CC}"/>
              </a:ext>
            </a:extLst>
          </p:cNvPr>
          <p:cNvSpPr txBox="1"/>
          <p:nvPr/>
        </p:nvSpPr>
        <p:spPr>
          <a:xfrm>
            <a:off x="898134" y="5199477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4.4</a:t>
            </a:r>
            <a:endParaRPr lang="en-GB" sz="3200" b="1" baseline="30000" dirty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613D07A2-3EDB-418C-A484-E01FFD5BF0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425287"/>
              </p:ext>
            </p:extLst>
          </p:nvPr>
        </p:nvGraphicFramePr>
        <p:xfrm>
          <a:off x="396726" y="1931231"/>
          <a:ext cx="1781907" cy="1410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42250F9-5C5E-45AB-9951-AE619DDB97C1}"/>
              </a:ext>
            </a:extLst>
          </p:cNvPr>
          <p:cNvSpPr txBox="1"/>
          <p:nvPr/>
        </p:nvSpPr>
        <p:spPr>
          <a:xfrm>
            <a:off x="848296" y="2344119"/>
            <a:ext cx="8787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b="1" dirty="0">
                <a:solidFill>
                  <a:schemeClr val="accent1"/>
                </a:solidFill>
                <a:latin typeface="+mj-lt"/>
              </a:rPr>
              <a:t>96</a:t>
            </a:r>
            <a:r>
              <a:rPr lang="en-GB" sz="3200" b="1" baseline="30000" dirty="0">
                <a:solidFill>
                  <a:schemeClr val="accent1"/>
                </a:solidFill>
                <a:latin typeface="+mj-lt"/>
              </a:rPr>
              <a:t>%</a:t>
            </a:r>
          </a:p>
        </p:txBody>
      </p:sp>
      <p:grpSp>
        <p:nvGrpSpPr>
          <p:cNvPr id="13" name="Trend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BFEEF90-3D69-48F1-A93B-0B22EE422C9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756480" y="3904524"/>
            <a:ext cx="1058075" cy="542925"/>
            <a:chOff x="2168" y="1309"/>
            <a:chExt cx="3200" cy="1642"/>
          </a:xfrm>
          <a:solidFill>
            <a:schemeClr val="tx1"/>
          </a:solidFill>
        </p:grpSpPr>
        <p:sp>
          <p:nvSpPr>
            <p:cNvPr id="14" name="Freeform 186">
              <a:extLst>
                <a:ext uri="{FF2B5EF4-FFF2-40B4-BE49-F238E27FC236}">
                  <a16:creationId xmlns:a16="http://schemas.microsoft.com/office/drawing/2014/main" id="{0C322BF9-2E5B-4CD5-A2F9-05AA5B205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8" y="1694"/>
              <a:ext cx="2092" cy="1257"/>
            </a:xfrm>
            <a:custGeom>
              <a:avLst/>
              <a:gdLst>
                <a:gd name="T0" fmla="*/ 487 w 527"/>
                <a:gd name="T1" fmla="*/ 10 h 316"/>
                <a:gd name="T2" fmla="*/ 361 w 527"/>
                <a:gd name="T3" fmla="*/ 243 h 316"/>
                <a:gd name="T4" fmla="*/ 198 w 527"/>
                <a:gd name="T5" fmla="*/ 14 h 316"/>
                <a:gd name="T6" fmla="*/ 164 w 527"/>
                <a:gd name="T7" fmla="*/ 7 h 316"/>
                <a:gd name="T8" fmla="*/ 14 w 527"/>
                <a:gd name="T9" fmla="*/ 107 h 316"/>
                <a:gd name="T10" fmla="*/ 7 w 527"/>
                <a:gd name="T11" fmla="*/ 142 h 316"/>
                <a:gd name="T12" fmla="*/ 42 w 527"/>
                <a:gd name="T13" fmla="*/ 149 h 316"/>
                <a:gd name="T14" fmla="*/ 172 w 527"/>
                <a:gd name="T15" fmla="*/ 62 h 316"/>
                <a:gd name="T16" fmla="*/ 343 w 527"/>
                <a:gd name="T17" fmla="*/ 305 h 316"/>
                <a:gd name="T18" fmla="*/ 363 w 527"/>
                <a:gd name="T19" fmla="*/ 316 h 316"/>
                <a:gd name="T20" fmla="*/ 365 w 527"/>
                <a:gd name="T21" fmla="*/ 316 h 316"/>
                <a:gd name="T22" fmla="*/ 385 w 527"/>
                <a:gd name="T23" fmla="*/ 303 h 316"/>
                <a:gd name="T24" fmla="*/ 527 w 527"/>
                <a:gd name="T25" fmla="*/ 42 h 316"/>
                <a:gd name="T26" fmla="*/ 487 w 527"/>
                <a:gd name="T27" fmla="*/ 10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7" h="316">
                  <a:moveTo>
                    <a:pt x="487" y="10"/>
                  </a:moveTo>
                  <a:lnTo>
                    <a:pt x="361" y="243"/>
                  </a:lnTo>
                  <a:lnTo>
                    <a:pt x="198" y="14"/>
                  </a:lnTo>
                  <a:cubicBezTo>
                    <a:pt x="191" y="3"/>
                    <a:pt x="175" y="0"/>
                    <a:pt x="164" y="7"/>
                  </a:cubicBezTo>
                  <a:lnTo>
                    <a:pt x="14" y="107"/>
                  </a:lnTo>
                  <a:cubicBezTo>
                    <a:pt x="3" y="115"/>
                    <a:pt x="0" y="131"/>
                    <a:pt x="7" y="142"/>
                  </a:cubicBezTo>
                  <a:cubicBezTo>
                    <a:pt x="15" y="154"/>
                    <a:pt x="30" y="157"/>
                    <a:pt x="42" y="149"/>
                  </a:cubicBezTo>
                  <a:lnTo>
                    <a:pt x="172" y="62"/>
                  </a:lnTo>
                  <a:lnTo>
                    <a:pt x="343" y="305"/>
                  </a:lnTo>
                  <a:cubicBezTo>
                    <a:pt x="348" y="312"/>
                    <a:pt x="355" y="316"/>
                    <a:pt x="363" y="316"/>
                  </a:cubicBezTo>
                  <a:cubicBezTo>
                    <a:pt x="364" y="316"/>
                    <a:pt x="364" y="316"/>
                    <a:pt x="365" y="316"/>
                  </a:cubicBezTo>
                  <a:cubicBezTo>
                    <a:pt x="374" y="315"/>
                    <a:pt x="381" y="310"/>
                    <a:pt x="385" y="303"/>
                  </a:cubicBezTo>
                  <a:lnTo>
                    <a:pt x="527" y="42"/>
                  </a:lnTo>
                  <a:cubicBezTo>
                    <a:pt x="511" y="35"/>
                    <a:pt x="497" y="24"/>
                    <a:pt x="487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Oval 187">
              <a:extLst>
                <a:ext uri="{FF2B5EF4-FFF2-40B4-BE49-F238E27FC236}">
                  <a16:creationId xmlns:a16="http://schemas.microsoft.com/office/drawing/2014/main" id="{60A749AA-F2B4-439D-9615-DF5F41D2C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3" y="1309"/>
              <a:ext cx="449" cy="449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8">
              <a:extLst>
                <a:ext uri="{FF2B5EF4-FFF2-40B4-BE49-F238E27FC236}">
                  <a16:creationId xmlns:a16="http://schemas.microsoft.com/office/drawing/2014/main" id="{8C6F548C-7750-4111-AB0D-847BEB9CE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" y="1667"/>
              <a:ext cx="770" cy="966"/>
            </a:xfrm>
            <a:custGeom>
              <a:avLst/>
              <a:gdLst>
                <a:gd name="T0" fmla="*/ 0 w 194"/>
                <a:gd name="T1" fmla="*/ 40 h 243"/>
                <a:gd name="T2" fmla="*/ 146 w 194"/>
                <a:gd name="T3" fmla="*/ 230 h 243"/>
                <a:gd name="T4" fmla="*/ 181 w 194"/>
                <a:gd name="T5" fmla="*/ 234 h 243"/>
                <a:gd name="T6" fmla="*/ 186 w 194"/>
                <a:gd name="T7" fmla="*/ 199 h 243"/>
                <a:gd name="T8" fmla="*/ 32 w 194"/>
                <a:gd name="T9" fmla="*/ 0 h 243"/>
                <a:gd name="T10" fmla="*/ 0 w 194"/>
                <a:gd name="T11" fmla="*/ 4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43">
                  <a:moveTo>
                    <a:pt x="0" y="40"/>
                  </a:moveTo>
                  <a:lnTo>
                    <a:pt x="146" y="230"/>
                  </a:lnTo>
                  <a:cubicBezTo>
                    <a:pt x="155" y="241"/>
                    <a:pt x="170" y="243"/>
                    <a:pt x="181" y="234"/>
                  </a:cubicBezTo>
                  <a:cubicBezTo>
                    <a:pt x="192" y="226"/>
                    <a:pt x="194" y="210"/>
                    <a:pt x="186" y="199"/>
                  </a:cubicBezTo>
                  <a:lnTo>
                    <a:pt x="32" y="0"/>
                  </a:lnTo>
                  <a:cubicBezTo>
                    <a:pt x="26" y="16"/>
                    <a:pt x="14" y="30"/>
                    <a:pt x="0" y="4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744B4B1-61B2-4C83-9F63-49BDBF63DF8E}"/>
              </a:ext>
            </a:extLst>
          </p:cNvPr>
          <p:cNvSpPr txBox="1"/>
          <p:nvPr/>
        </p:nvSpPr>
        <p:spPr>
          <a:xfrm>
            <a:off x="976779" y="3395640"/>
            <a:ext cx="7585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.5</a:t>
            </a:r>
            <a:endParaRPr kumimoji="0" lang="en-GB" sz="32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357500-42C7-4262-8E11-354A1110EB1F}"/>
              </a:ext>
            </a:extLst>
          </p:cNvPr>
          <p:cNvSpPr txBox="1"/>
          <p:nvPr/>
        </p:nvSpPr>
        <p:spPr>
          <a:xfrm>
            <a:off x="1965539" y="2171054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Of mail is engaged with:  opened, read, sorted, put aside, put on display or in the usual place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EA4B0D6-5499-4009-B35B-6BD968BCDC9B}"/>
              </a:ext>
            </a:extLst>
          </p:cNvPr>
          <p:cNvSpPr txBox="1"/>
          <p:nvPr/>
        </p:nvSpPr>
        <p:spPr>
          <a:xfrm>
            <a:off x="2010542" y="5126372"/>
            <a:ext cx="3759241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ach piece of mail is revisited 4.4 times by individual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A6F7A0-CE05-4034-ACB2-9EC2919DA6DA}"/>
              </a:ext>
            </a:extLst>
          </p:cNvPr>
          <p:cNvSpPr txBox="1"/>
          <p:nvPr/>
        </p:nvSpPr>
        <p:spPr>
          <a:xfrm>
            <a:off x="2010542" y="3738952"/>
            <a:ext cx="3759241" cy="83144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2000" dirty="0"/>
              <a:t>Every 100 mail packs sent reach another 15 individuals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07FE47-07C4-4341-81D4-3A1F12D2D232}"/>
              </a:ext>
            </a:extLst>
          </p:cNvPr>
          <p:cNvSpPr txBox="1"/>
          <p:nvPr/>
        </p:nvSpPr>
        <p:spPr>
          <a:xfrm>
            <a:off x="1629209" y="6372309"/>
            <a:ext cx="371928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Source:  JICMAIL, Addressed Mail, Q2 2017-Q3 2022, n=115,208 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09CD072-2743-4A5C-BE62-4D78770847CE}"/>
              </a:ext>
            </a:extLst>
          </p:cNvPr>
          <p:cNvSpPr txBox="1">
            <a:spLocks/>
          </p:cNvSpPr>
          <p:nvPr/>
        </p:nvSpPr>
        <p:spPr>
          <a:xfrm>
            <a:off x="614393" y="430690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Mail gets you noticed</a:t>
            </a:r>
            <a:endParaRPr lang="en-GB" dirty="0"/>
          </a:p>
        </p:txBody>
      </p:sp>
      <p:pic>
        <p:nvPicPr>
          <p:cNvPr id="22" name="Picture Placeholder 5">
            <a:extLst>
              <a:ext uri="{FF2B5EF4-FFF2-40B4-BE49-F238E27FC236}">
                <a16:creationId xmlns:a16="http://schemas.microsoft.com/office/drawing/2014/main" id="{6335C78C-85D8-4A5A-B6B3-6600468723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87542" y="-12036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41459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22321DC-7D95-440F-8CC0-7DA3808A3108}"/>
              </a:ext>
            </a:extLst>
          </p:cNvPr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r>
              <a:rPr lang="en-GB" dirty="0"/>
              <a:t>Postcards are a quick and impactful way to retarget someone who has abandoned their shopping basket</a:t>
            </a:r>
          </a:p>
          <a:p>
            <a:r>
              <a:rPr lang="en-GB" dirty="0"/>
              <a:t>You can use them to let customers know about new products</a:t>
            </a:r>
          </a:p>
          <a:p>
            <a:r>
              <a:rPr lang="en-GB" dirty="0"/>
              <a:t>You can use short formats to let people know about local events</a:t>
            </a:r>
          </a:p>
          <a:p>
            <a:r>
              <a:rPr lang="en-GB" dirty="0"/>
              <a:t>What about thanking VIP customers for their business with you, a thank you very often prompts a sales</a:t>
            </a:r>
          </a:p>
          <a:p>
            <a:r>
              <a:rPr lang="en-GB" dirty="0"/>
              <a:t>Select any number of triggers to prompt a programmatic postcard:  price drops, added something to their wish list, viewed a product range but didn’t buy</a:t>
            </a:r>
          </a:p>
          <a:p>
            <a:r>
              <a:rPr lang="en-GB" dirty="0"/>
              <a:t>Mailed within 2-3 days of trigg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8374D3-D796-4EEF-AE53-CEA9369D9A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4B04F84-EAE1-4DFC-B31E-0251B7897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ostcard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CA93B68-C6DB-4D2E-890D-4CF5F94C9D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n impactful and timely way to get your message out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5926999A-F6D6-4866-94C0-7A4E76559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090" y="1576995"/>
            <a:ext cx="4123532" cy="4684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EEDA535-9FCC-4481-9684-EAD0BF18F129}"/>
              </a:ext>
            </a:extLst>
          </p:cNvPr>
          <p:cNvSpPr txBox="1"/>
          <p:nvPr/>
        </p:nvSpPr>
        <p:spPr>
          <a:xfrm>
            <a:off x="10041420" y="6321047"/>
            <a:ext cx="14141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 Zappost.com</a:t>
            </a:r>
          </a:p>
        </p:txBody>
      </p:sp>
    </p:spTree>
    <p:extLst>
      <p:ext uri="{BB962C8B-B14F-4D97-AF65-F5344CB8AC3E}">
        <p14:creationId xmlns:p14="http://schemas.microsoft.com/office/powerpoint/2010/main" val="20670710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491FF57-42A1-4896-AE36-9B8AD03F7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e a customer journey online to physical mail item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94F807C-3F4D-4C79-8B2C-AFA9887C4D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ail connects to all the main automation platforms you already u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A50BA7-D582-43D3-B2A2-84244C58BFC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9182100" y="6481820"/>
            <a:ext cx="2743200" cy="365125"/>
          </a:xfrm>
        </p:spPr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pic>
        <p:nvPicPr>
          <p:cNvPr id="2050" name="Picture 2" descr="shopify-logo-png-shopify-logo-300 - Penser">
            <a:extLst>
              <a:ext uri="{FF2B5EF4-FFF2-40B4-BE49-F238E27FC236}">
                <a16:creationId xmlns:a16="http://schemas.microsoft.com/office/drawing/2014/main" id="{310B2FAF-C88B-4567-83DB-81A05AD93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374" y="2694537"/>
            <a:ext cx="2146882" cy="1130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Klaviyo + Trustpilot">
            <a:extLst>
              <a:ext uri="{FF2B5EF4-FFF2-40B4-BE49-F238E27FC236}">
                <a16:creationId xmlns:a16="http://schemas.microsoft.com/office/drawing/2014/main" id="{6CE9C3AB-7571-4AC9-804A-F5A353A7C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3285" y="2356920"/>
            <a:ext cx="1805925" cy="180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Emarsys Logo Download Vector">
            <a:extLst>
              <a:ext uri="{FF2B5EF4-FFF2-40B4-BE49-F238E27FC236}">
                <a16:creationId xmlns:a16="http://schemas.microsoft.com/office/drawing/2014/main" id="{7BC9379B-0A84-4B2A-A722-86189D9689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0265" y="3966841"/>
            <a:ext cx="2282095" cy="478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dotdigital Engagement Cloud | Shopware integration">
            <a:extLst>
              <a:ext uri="{FF2B5EF4-FFF2-40B4-BE49-F238E27FC236}">
                <a16:creationId xmlns:a16="http://schemas.microsoft.com/office/drawing/2014/main" id="{12613AA6-6D4F-4AA9-97B5-7478CE8E02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4586" y="2526707"/>
            <a:ext cx="1466350" cy="146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Ometria Logo - A Young Entrepreneur in London - by Ivan Mazour">
            <a:extLst>
              <a:ext uri="{FF2B5EF4-FFF2-40B4-BE49-F238E27FC236}">
                <a16:creationId xmlns:a16="http://schemas.microsoft.com/office/drawing/2014/main" id="{72F3F444-3CA1-420E-BD6A-26FFBD27F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287" y="5411564"/>
            <a:ext cx="1836025" cy="51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The Referral Engineering™ Platform | Mention Me">
            <a:extLst>
              <a:ext uri="{FF2B5EF4-FFF2-40B4-BE49-F238E27FC236}">
                <a16:creationId xmlns:a16="http://schemas.microsoft.com/office/drawing/2014/main" id="{41D6C3B4-3740-4AAB-94D1-D65F7E3A2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6894" y="4641459"/>
            <a:ext cx="2155533" cy="557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D20AB87F-24E7-4E05-987F-5170A4CD9C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414" y="3966841"/>
            <a:ext cx="1993490" cy="551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Nosto Logo Horizontal Primary - New Logo Modern Horizontal PNG Image |  Transparent PNG Free Download on SeekPNG">
            <a:extLst>
              <a:ext uri="{FF2B5EF4-FFF2-40B4-BE49-F238E27FC236}">
                <a16:creationId xmlns:a16="http://schemas.microsoft.com/office/drawing/2014/main" id="{B2ECCBA0-1A26-4A1B-AECF-27E9F6D7DF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680" y="4553080"/>
            <a:ext cx="2056749" cy="68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F09ED80-B3D2-4BAC-929E-F7556A7AB063}"/>
              </a:ext>
            </a:extLst>
          </p:cNvPr>
          <p:cNvSpPr txBox="1"/>
          <p:nvPr/>
        </p:nvSpPr>
        <p:spPr>
          <a:xfrm>
            <a:off x="971755" y="2096430"/>
            <a:ext cx="11737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cquisi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EB57859-4248-4C39-AE13-661223DDC103}"/>
              </a:ext>
            </a:extLst>
          </p:cNvPr>
          <p:cNvSpPr txBox="1"/>
          <p:nvPr/>
        </p:nvSpPr>
        <p:spPr>
          <a:xfrm>
            <a:off x="4064019" y="1840415"/>
            <a:ext cx="1220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onvers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20653F-24E3-4374-9C23-C8ACDA833805}"/>
              </a:ext>
            </a:extLst>
          </p:cNvPr>
          <p:cNvSpPr txBox="1"/>
          <p:nvPr/>
        </p:nvSpPr>
        <p:spPr>
          <a:xfrm>
            <a:off x="5320364" y="3071443"/>
            <a:ext cx="13468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Engagemen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C1AD3D0-0312-4CAA-8D8C-EABB7C28553E}"/>
              </a:ext>
            </a:extLst>
          </p:cNvPr>
          <p:cNvSpPr txBox="1"/>
          <p:nvPr/>
        </p:nvSpPr>
        <p:spPr>
          <a:xfrm>
            <a:off x="5319323" y="4952882"/>
            <a:ext cx="10951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Cross-sell</a:t>
            </a:r>
          </a:p>
          <a:p>
            <a:r>
              <a:rPr lang="en-GB" sz="1600" dirty="0">
                <a:solidFill>
                  <a:schemeClr val="tx2"/>
                </a:solidFill>
              </a:rPr>
              <a:t>Up-sell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AA2857-3B5B-4893-94F5-005208FCDCB6}"/>
              </a:ext>
            </a:extLst>
          </p:cNvPr>
          <p:cNvSpPr txBox="1"/>
          <p:nvPr/>
        </p:nvSpPr>
        <p:spPr>
          <a:xfrm>
            <a:off x="3725107" y="6257657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Advocac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AEB9014-1F74-4256-81AE-1EA09CE0EC96}"/>
              </a:ext>
            </a:extLst>
          </p:cNvPr>
          <p:cNvSpPr txBox="1"/>
          <p:nvPr/>
        </p:nvSpPr>
        <p:spPr>
          <a:xfrm>
            <a:off x="1013201" y="5735592"/>
            <a:ext cx="9012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Lapsin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7D50CC-D121-4F76-9DF0-F2619B53B689}"/>
              </a:ext>
            </a:extLst>
          </p:cNvPr>
          <p:cNvSpPr txBox="1"/>
          <p:nvPr/>
        </p:nvSpPr>
        <p:spPr>
          <a:xfrm>
            <a:off x="208198" y="3916011"/>
            <a:ext cx="10278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Win back</a:t>
            </a:r>
          </a:p>
        </p:txBody>
      </p:sp>
      <p:grpSp>
        <p:nvGrpSpPr>
          <p:cNvPr id="27" name="Shopping_ba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82EC412-8919-497F-AADA-42CEB7677748}"/>
              </a:ext>
            </a:extLst>
          </p:cNvPr>
          <p:cNvGrpSpPr>
            <a:grpSpLocks noChangeAspect="1"/>
          </p:cNvGrpSpPr>
          <p:nvPr/>
        </p:nvGrpSpPr>
        <p:grpSpPr>
          <a:xfrm>
            <a:off x="3135742" y="3818613"/>
            <a:ext cx="632911" cy="794901"/>
            <a:chOff x="6843384" y="6101264"/>
            <a:chExt cx="432286" cy="542928"/>
          </a:xfrm>
        </p:grpSpPr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552BCB5A-B2AD-4593-AA64-3022C282A8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43389" y="6101264"/>
              <a:ext cx="432281" cy="542925"/>
            </a:xfrm>
            <a:custGeom>
              <a:avLst/>
              <a:gdLst>
                <a:gd name="T0" fmla="*/ 0 w 350"/>
                <a:gd name="T1" fmla="*/ 438 h 438"/>
                <a:gd name="T2" fmla="*/ 0 w 350"/>
                <a:gd name="T3" fmla="*/ 438 h 438"/>
                <a:gd name="T4" fmla="*/ 7 w 350"/>
                <a:gd name="T5" fmla="*/ 388 h 438"/>
                <a:gd name="T6" fmla="*/ 343 w 350"/>
                <a:gd name="T7" fmla="*/ 388 h 438"/>
                <a:gd name="T8" fmla="*/ 350 w 350"/>
                <a:gd name="T9" fmla="*/ 438 h 438"/>
                <a:gd name="T10" fmla="*/ 0 w 350"/>
                <a:gd name="T11" fmla="*/ 438 h 438"/>
                <a:gd name="T12" fmla="*/ 225 w 350"/>
                <a:gd name="T13" fmla="*/ 100 h 438"/>
                <a:gd name="T14" fmla="*/ 175 w 350"/>
                <a:gd name="T15" fmla="*/ 38 h 438"/>
                <a:gd name="T16" fmla="*/ 125 w 350"/>
                <a:gd name="T17" fmla="*/ 100 h 438"/>
                <a:gd name="T18" fmla="*/ 125 w 350"/>
                <a:gd name="T19" fmla="*/ 113 h 438"/>
                <a:gd name="T20" fmla="*/ 88 w 350"/>
                <a:gd name="T21" fmla="*/ 113 h 438"/>
                <a:gd name="T22" fmla="*/ 88 w 350"/>
                <a:gd name="T23" fmla="*/ 76 h 438"/>
                <a:gd name="T24" fmla="*/ 175 w 350"/>
                <a:gd name="T25" fmla="*/ 0 h 438"/>
                <a:gd name="T26" fmla="*/ 262 w 350"/>
                <a:gd name="T27" fmla="*/ 76 h 438"/>
                <a:gd name="T28" fmla="*/ 263 w 350"/>
                <a:gd name="T29" fmla="*/ 113 h 438"/>
                <a:gd name="T30" fmla="*/ 225 w 350"/>
                <a:gd name="T31" fmla="*/ 113 h 438"/>
                <a:gd name="T32" fmla="*/ 225 w 350"/>
                <a:gd name="T33" fmla="*/ 10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0" h="438">
                  <a:moveTo>
                    <a:pt x="0" y="438"/>
                  </a:moveTo>
                  <a:lnTo>
                    <a:pt x="0" y="438"/>
                  </a:lnTo>
                  <a:lnTo>
                    <a:pt x="7" y="388"/>
                  </a:lnTo>
                  <a:lnTo>
                    <a:pt x="343" y="388"/>
                  </a:lnTo>
                  <a:lnTo>
                    <a:pt x="350" y="438"/>
                  </a:lnTo>
                  <a:lnTo>
                    <a:pt x="0" y="438"/>
                  </a:lnTo>
                  <a:close/>
                  <a:moveTo>
                    <a:pt x="225" y="100"/>
                  </a:moveTo>
                  <a:cubicBezTo>
                    <a:pt x="225" y="81"/>
                    <a:pt x="216" y="38"/>
                    <a:pt x="175" y="38"/>
                  </a:cubicBezTo>
                  <a:cubicBezTo>
                    <a:pt x="134" y="38"/>
                    <a:pt x="125" y="81"/>
                    <a:pt x="125" y="100"/>
                  </a:cubicBezTo>
                  <a:lnTo>
                    <a:pt x="125" y="113"/>
                  </a:lnTo>
                  <a:lnTo>
                    <a:pt x="88" y="113"/>
                  </a:lnTo>
                  <a:lnTo>
                    <a:pt x="88" y="76"/>
                  </a:lnTo>
                  <a:cubicBezTo>
                    <a:pt x="88" y="38"/>
                    <a:pt x="126" y="0"/>
                    <a:pt x="175" y="0"/>
                  </a:cubicBezTo>
                  <a:cubicBezTo>
                    <a:pt x="224" y="0"/>
                    <a:pt x="262" y="38"/>
                    <a:pt x="262" y="76"/>
                  </a:cubicBezTo>
                  <a:lnTo>
                    <a:pt x="263" y="113"/>
                  </a:lnTo>
                  <a:lnTo>
                    <a:pt x="225" y="113"/>
                  </a:lnTo>
                  <a:lnTo>
                    <a:pt x="225" y="10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4FCF855-9B07-421B-B1D0-396772933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384" y="6240215"/>
              <a:ext cx="432281" cy="403977"/>
            </a:xfrm>
            <a:custGeom>
              <a:avLst/>
              <a:gdLst>
                <a:gd name="connsiteX0" fmla="*/ 58820 w 432281"/>
                <a:gd name="connsiteY0" fmla="*/ 9388 h 403977"/>
                <a:gd name="connsiteX1" fmla="*/ 9140 w 432281"/>
                <a:gd name="connsiteY1" fmla="*/ 394588 h 403977"/>
                <a:gd name="connsiteX2" fmla="*/ 423140 w 432281"/>
                <a:gd name="connsiteY2" fmla="*/ 394588 h 403977"/>
                <a:gd name="connsiteX3" fmla="*/ 373460 w 432281"/>
                <a:gd name="connsiteY3" fmla="*/ 9388 h 403977"/>
                <a:gd name="connsiteX4" fmla="*/ 51874 w 432281"/>
                <a:gd name="connsiteY4" fmla="*/ 0 h 403977"/>
                <a:gd name="connsiteX5" fmla="*/ 380408 w 432281"/>
                <a:gd name="connsiteY5" fmla="*/ 0 h 403977"/>
                <a:gd name="connsiteX6" fmla="*/ 432281 w 432281"/>
                <a:gd name="connsiteY6" fmla="*/ 403977 h 403977"/>
                <a:gd name="connsiteX7" fmla="*/ 0 w 432281"/>
                <a:gd name="connsiteY7" fmla="*/ 403977 h 403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32281" h="403977">
                  <a:moveTo>
                    <a:pt x="58820" y="9388"/>
                  </a:moveTo>
                  <a:lnTo>
                    <a:pt x="9140" y="394588"/>
                  </a:lnTo>
                  <a:lnTo>
                    <a:pt x="423140" y="394588"/>
                  </a:lnTo>
                  <a:lnTo>
                    <a:pt x="373460" y="9388"/>
                  </a:lnTo>
                  <a:close/>
                  <a:moveTo>
                    <a:pt x="51874" y="0"/>
                  </a:moveTo>
                  <a:lnTo>
                    <a:pt x="380408" y="0"/>
                  </a:lnTo>
                  <a:lnTo>
                    <a:pt x="432281" y="403977"/>
                  </a:lnTo>
                  <a:lnTo>
                    <a:pt x="0" y="40397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974415A-F6A0-4D75-8F2D-6E4B603A8C4E}"/>
              </a:ext>
            </a:extLst>
          </p:cNvPr>
          <p:cNvSpPr txBox="1"/>
          <p:nvPr/>
        </p:nvSpPr>
        <p:spPr>
          <a:xfrm>
            <a:off x="2888021" y="4566447"/>
            <a:ext cx="1132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>
                <a:solidFill>
                  <a:schemeClr val="accent1"/>
                </a:solidFill>
              </a:rPr>
              <a:t>OMNICHANNEL</a:t>
            </a:r>
          </a:p>
        </p:txBody>
      </p:sp>
      <p:sp>
        <p:nvSpPr>
          <p:cNvPr id="31" name="Freeform 10">
            <a:extLst>
              <a:ext uri="{FF2B5EF4-FFF2-40B4-BE49-F238E27FC236}">
                <a16:creationId xmlns:a16="http://schemas.microsoft.com/office/drawing/2014/main" id="{58B296BE-1E4D-4832-9B40-0450B2A3BF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8201" y="2526227"/>
            <a:ext cx="407756" cy="400720"/>
          </a:xfrm>
          <a:custGeom>
            <a:avLst/>
            <a:gdLst>
              <a:gd name="T0" fmla="*/ 2147483646 w 1673"/>
              <a:gd name="T1" fmla="*/ 2147483646 h 1639"/>
              <a:gd name="T2" fmla="*/ 2147483646 w 1673"/>
              <a:gd name="T3" fmla="*/ 2147483646 h 1639"/>
              <a:gd name="T4" fmla="*/ 2147483646 w 1673"/>
              <a:gd name="T5" fmla="*/ 2147483646 h 1639"/>
              <a:gd name="T6" fmla="*/ 2147483646 w 1673"/>
              <a:gd name="T7" fmla="*/ 2147483646 h 1639"/>
              <a:gd name="T8" fmla="*/ 2147483646 w 1673"/>
              <a:gd name="T9" fmla="*/ 2147483646 h 1639"/>
              <a:gd name="T10" fmla="*/ 2147483646 w 1673"/>
              <a:gd name="T11" fmla="*/ 2147483646 h 1639"/>
              <a:gd name="T12" fmla="*/ 2147483646 w 1673"/>
              <a:gd name="T13" fmla="*/ 2147483646 h 1639"/>
              <a:gd name="T14" fmla="*/ 2147483646 w 1673"/>
              <a:gd name="T15" fmla="*/ 2147483646 h 1639"/>
              <a:gd name="T16" fmla="*/ 2147483646 w 1673"/>
              <a:gd name="T17" fmla="*/ 2147483646 h 1639"/>
              <a:gd name="T18" fmla="*/ 2147483646 w 1673"/>
              <a:gd name="T19" fmla="*/ 2147483646 h 1639"/>
              <a:gd name="T20" fmla="*/ 2147483646 w 1673"/>
              <a:gd name="T21" fmla="*/ 2147483646 h 1639"/>
              <a:gd name="T22" fmla="*/ 2147483646 w 1673"/>
              <a:gd name="T23" fmla="*/ 2147483646 h 1639"/>
              <a:gd name="T24" fmla="*/ 2147483646 w 1673"/>
              <a:gd name="T25" fmla="*/ 2147483646 h 1639"/>
              <a:gd name="T26" fmla="*/ 2147483646 w 1673"/>
              <a:gd name="T27" fmla="*/ 2147483646 h 1639"/>
              <a:gd name="T28" fmla="*/ 2147483646 w 1673"/>
              <a:gd name="T29" fmla="*/ 2147483646 h 1639"/>
              <a:gd name="T30" fmla="*/ 2147483646 w 1673"/>
              <a:gd name="T31" fmla="*/ 2147483646 h 1639"/>
              <a:gd name="T32" fmla="*/ 0 w 1673"/>
              <a:gd name="T33" fmla="*/ 2147483646 h 1639"/>
              <a:gd name="T34" fmla="*/ 2147483646 w 1673"/>
              <a:gd name="T35" fmla="*/ 2147483646 h 1639"/>
              <a:gd name="T36" fmla="*/ 2147483646 w 1673"/>
              <a:gd name="T37" fmla="*/ 2147483646 h 1639"/>
              <a:gd name="T38" fmla="*/ 2147483646 w 1673"/>
              <a:gd name="T39" fmla="*/ 2147483646 h 1639"/>
              <a:gd name="T40" fmla="*/ 2147483646 w 1673"/>
              <a:gd name="T41" fmla="*/ 2147483646 h 1639"/>
              <a:gd name="T42" fmla="*/ 2147483646 w 1673"/>
              <a:gd name="T43" fmla="*/ 2147483646 h 1639"/>
              <a:gd name="T44" fmla="*/ 2147483646 w 1673"/>
              <a:gd name="T45" fmla="*/ 2147483646 h 1639"/>
              <a:gd name="T46" fmla="*/ 2147483646 w 1673"/>
              <a:gd name="T47" fmla="*/ 2147483646 h 1639"/>
              <a:gd name="T48" fmla="*/ 2147483646 w 1673"/>
              <a:gd name="T49" fmla="*/ 2147483646 h 1639"/>
              <a:gd name="T50" fmla="*/ 2147483646 w 1673"/>
              <a:gd name="T51" fmla="*/ 2147483646 h 1639"/>
              <a:gd name="T52" fmla="*/ 2147483646 w 1673"/>
              <a:gd name="T53" fmla="*/ 2147483646 h 1639"/>
              <a:gd name="T54" fmla="*/ 2147483646 w 1673"/>
              <a:gd name="T55" fmla="*/ 2147483646 h 1639"/>
              <a:gd name="T56" fmla="*/ 2147483646 w 1673"/>
              <a:gd name="T57" fmla="*/ 2147483646 h 1639"/>
              <a:gd name="T58" fmla="*/ 2147483646 w 1673"/>
              <a:gd name="T59" fmla="*/ 2147483646 h 1639"/>
              <a:gd name="T60" fmla="*/ 2147483646 w 1673"/>
              <a:gd name="T61" fmla="*/ 2147483646 h 1639"/>
              <a:gd name="T62" fmla="*/ 2147483646 w 1673"/>
              <a:gd name="T63" fmla="*/ 2147483646 h 1639"/>
              <a:gd name="T64" fmla="*/ 2147483646 w 1673"/>
              <a:gd name="T65" fmla="*/ 2147483646 h 1639"/>
              <a:gd name="T66" fmla="*/ 2147483646 w 1673"/>
              <a:gd name="T67" fmla="*/ 2147483646 h 1639"/>
              <a:gd name="T68" fmla="*/ 2147483646 w 1673"/>
              <a:gd name="T69" fmla="*/ 2147483646 h 1639"/>
              <a:gd name="T70" fmla="*/ 2147483646 w 1673"/>
              <a:gd name="T71" fmla="*/ 2147483646 h 1639"/>
              <a:gd name="T72" fmla="*/ 2147483646 w 1673"/>
              <a:gd name="T73" fmla="*/ 2147483646 h 1639"/>
              <a:gd name="T74" fmla="*/ 2147483646 w 1673"/>
              <a:gd name="T75" fmla="*/ 2147483646 h 1639"/>
              <a:gd name="T76" fmla="*/ 2147483646 w 1673"/>
              <a:gd name="T77" fmla="*/ 2147483646 h 1639"/>
              <a:gd name="T78" fmla="*/ 2147483646 w 1673"/>
              <a:gd name="T79" fmla="*/ 2147483646 h 1639"/>
              <a:gd name="T80" fmla="*/ 2147483646 w 1673"/>
              <a:gd name="T81" fmla="*/ 2147483646 h 1639"/>
              <a:gd name="T82" fmla="*/ 2147483646 w 1673"/>
              <a:gd name="T83" fmla="*/ 2147483646 h 1639"/>
              <a:gd name="T84" fmla="*/ 2147483646 w 1673"/>
              <a:gd name="T85" fmla="*/ 2147483646 h 1639"/>
              <a:gd name="T86" fmla="*/ 2147483646 w 1673"/>
              <a:gd name="T87" fmla="*/ 2147483646 h 1639"/>
              <a:gd name="T88" fmla="*/ 2147483646 w 1673"/>
              <a:gd name="T89" fmla="*/ 2147483646 h 1639"/>
              <a:gd name="T90" fmla="*/ 2147483646 w 1673"/>
              <a:gd name="T91" fmla="*/ 2147483646 h 1639"/>
              <a:gd name="T92" fmla="*/ 2147483646 w 1673"/>
              <a:gd name="T93" fmla="*/ 2147483646 h 1639"/>
              <a:gd name="T94" fmla="*/ 2147483646 w 1673"/>
              <a:gd name="T95" fmla="*/ 2147483646 h 163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1673" h="1639">
                <a:moveTo>
                  <a:pt x="1638" y="568"/>
                </a:moveTo>
                <a:lnTo>
                  <a:pt x="1638" y="568"/>
                </a:lnTo>
                <a:cubicBezTo>
                  <a:pt x="1612" y="539"/>
                  <a:pt x="1577" y="522"/>
                  <a:pt x="1540" y="522"/>
                </a:cubicBezTo>
                <a:cubicBezTo>
                  <a:pt x="1439" y="522"/>
                  <a:pt x="1439" y="522"/>
                  <a:pt x="1439" y="522"/>
                </a:cubicBezTo>
                <a:cubicBezTo>
                  <a:pt x="1045" y="37"/>
                  <a:pt x="1045" y="37"/>
                  <a:pt x="1045" y="37"/>
                </a:cubicBezTo>
                <a:cubicBezTo>
                  <a:pt x="1021" y="6"/>
                  <a:pt x="978" y="0"/>
                  <a:pt x="945" y="22"/>
                </a:cubicBezTo>
                <a:cubicBezTo>
                  <a:pt x="916" y="48"/>
                  <a:pt x="910" y="89"/>
                  <a:pt x="932" y="122"/>
                </a:cubicBezTo>
                <a:cubicBezTo>
                  <a:pt x="932" y="125"/>
                  <a:pt x="934" y="125"/>
                  <a:pt x="934" y="126"/>
                </a:cubicBezTo>
                <a:cubicBezTo>
                  <a:pt x="1257" y="522"/>
                  <a:pt x="1257" y="522"/>
                  <a:pt x="1257" y="522"/>
                </a:cubicBezTo>
                <a:cubicBezTo>
                  <a:pt x="388" y="522"/>
                  <a:pt x="388" y="522"/>
                  <a:pt x="388" y="522"/>
                </a:cubicBezTo>
                <a:cubicBezTo>
                  <a:pt x="709" y="126"/>
                  <a:pt x="709" y="126"/>
                  <a:pt x="709" y="126"/>
                </a:cubicBezTo>
                <a:cubicBezTo>
                  <a:pt x="735" y="98"/>
                  <a:pt x="734" y="54"/>
                  <a:pt x="706" y="27"/>
                </a:cubicBezTo>
                <a:cubicBezTo>
                  <a:pt x="676" y="0"/>
                  <a:pt x="631" y="3"/>
                  <a:pt x="606" y="31"/>
                </a:cubicBezTo>
                <a:cubicBezTo>
                  <a:pt x="603" y="33"/>
                  <a:pt x="602" y="36"/>
                  <a:pt x="599" y="37"/>
                </a:cubicBezTo>
                <a:cubicBezTo>
                  <a:pt x="207" y="523"/>
                  <a:pt x="207" y="523"/>
                  <a:pt x="207" y="523"/>
                </a:cubicBezTo>
                <a:cubicBezTo>
                  <a:pt x="126" y="523"/>
                  <a:pt x="126" y="523"/>
                  <a:pt x="126" y="523"/>
                </a:cubicBezTo>
                <a:cubicBezTo>
                  <a:pt x="56" y="523"/>
                  <a:pt x="0" y="580"/>
                  <a:pt x="0" y="649"/>
                </a:cubicBezTo>
                <a:cubicBezTo>
                  <a:pt x="0" y="657"/>
                  <a:pt x="0" y="666"/>
                  <a:pt x="2" y="673"/>
                </a:cubicBezTo>
                <a:cubicBezTo>
                  <a:pt x="165" y="1492"/>
                  <a:pt x="165" y="1492"/>
                  <a:pt x="165" y="1492"/>
                </a:cubicBezTo>
                <a:cubicBezTo>
                  <a:pt x="181" y="1577"/>
                  <a:pt x="256" y="1638"/>
                  <a:pt x="343" y="1638"/>
                </a:cubicBezTo>
                <a:cubicBezTo>
                  <a:pt x="1323" y="1638"/>
                  <a:pt x="1323" y="1638"/>
                  <a:pt x="1323" y="1638"/>
                </a:cubicBezTo>
                <a:cubicBezTo>
                  <a:pt x="1409" y="1638"/>
                  <a:pt x="1485" y="1577"/>
                  <a:pt x="1501" y="1492"/>
                </a:cubicBezTo>
                <a:cubicBezTo>
                  <a:pt x="1663" y="673"/>
                  <a:pt x="1663" y="673"/>
                  <a:pt x="1663" y="673"/>
                </a:cubicBezTo>
                <a:cubicBezTo>
                  <a:pt x="1672" y="638"/>
                  <a:pt x="1661" y="599"/>
                  <a:pt x="1638" y="568"/>
                </a:cubicBezTo>
                <a:close/>
                <a:moveTo>
                  <a:pt x="621" y="1231"/>
                </a:moveTo>
                <a:lnTo>
                  <a:pt x="621" y="1231"/>
                </a:lnTo>
                <a:cubicBezTo>
                  <a:pt x="621" y="1269"/>
                  <a:pt x="590" y="1302"/>
                  <a:pt x="551" y="1302"/>
                </a:cubicBezTo>
                <a:cubicBezTo>
                  <a:pt x="513" y="1302"/>
                  <a:pt x="480" y="1269"/>
                  <a:pt x="480" y="1231"/>
                </a:cubicBezTo>
                <a:cubicBezTo>
                  <a:pt x="480" y="943"/>
                  <a:pt x="480" y="943"/>
                  <a:pt x="480" y="943"/>
                </a:cubicBezTo>
                <a:cubicBezTo>
                  <a:pt x="480" y="904"/>
                  <a:pt x="513" y="871"/>
                  <a:pt x="551" y="871"/>
                </a:cubicBezTo>
                <a:cubicBezTo>
                  <a:pt x="590" y="871"/>
                  <a:pt x="621" y="904"/>
                  <a:pt x="621" y="943"/>
                </a:cubicBezTo>
                <a:lnTo>
                  <a:pt x="621" y="1231"/>
                </a:lnTo>
                <a:close/>
                <a:moveTo>
                  <a:pt x="904" y="1231"/>
                </a:moveTo>
                <a:lnTo>
                  <a:pt x="904" y="1231"/>
                </a:lnTo>
                <a:cubicBezTo>
                  <a:pt x="904" y="1269"/>
                  <a:pt x="871" y="1302"/>
                  <a:pt x="833" y="1302"/>
                </a:cubicBezTo>
                <a:cubicBezTo>
                  <a:pt x="795" y="1302"/>
                  <a:pt x="762" y="1269"/>
                  <a:pt x="762" y="1231"/>
                </a:cubicBezTo>
                <a:cubicBezTo>
                  <a:pt x="762" y="943"/>
                  <a:pt x="762" y="943"/>
                  <a:pt x="762" y="943"/>
                </a:cubicBezTo>
                <a:cubicBezTo>
                  <a:pt x="762" y="904"/>
                  <a:pt x="795" y="871"/>
                  <a:pt x="833" y="871"/>
                </a:cubicBezTo>
                <a:cubicBezTo>
                  <a:pt x="871" y="871"/>
                  <a:pt x="904" y="904"/>
                  <a:pt x="904" y="943"/>
                </a:cubicBezTo>
                <a:lnTo>
                  <a:pt x="904" y="1231"/>
                </a:lnTo>
                <a:close/>
                <a:moveTo>
                  <a:pt x="1183" y="1231"/>
                </a:moveTo>
                <a:lnTo>
                  <a:pt x="1183" y="1231"/>
                </a:lnTo>
                <a:cubicBezTo>
                  <a:pt x="1183" y="1269"/>
                  <a:pt x="1152" y="1302"/>
                  <a:pt x="1113" y="1302"/>
                </a:cubicBezTo>
                <a:cubicBezTo>
                  <a:pt x="1075" y="1302"/>
                  <a:pt x="1042" y="1269"/>
                  <a:pt x="1042" y="1231"/>
                </a:cubicBezTo>
                <a:cubicBezTo>
                  <a:pt x="1042" y="943"/>
                  <a:pt x="1042" y="943"/>
                  <a:pt x="1042" y="943"/>
                </a:cubicBezTo>
                <a:cubicBezTo>
                  <a:pt x="1042" y="904"/>
                  <a:pt x="1075" y="871"/>
                  <a:pt x="1113" y="871"/>
                </a:cubicBezTo>
                <a:cubicBezTo>
                  <a:pt x="1152" y="871"/>
                  <a:pt x="1183" y="904"/>
                  <a:pt x="1183" y="943"/>
                </a:cubicBezTo>
                <a:lnTo>
                  <a:pt x="1183" y="123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A4BFFF5-6CD7-4FF5-96E1-D43EC0311825}"/>
              </a:ext>
            </a:extLst>
          </p:cNvPr>
          <p:cNvGrpSpPr>
            <a:grpSpLocks/>
          </p:cNvGrpSpPr>
          <p:nvPr/>
        </p:nvGrpSpPr>
        <p:grpSpPr bwMode="auto">
          <a:xfrm>
            <a:off x="3144273" y="2728309"/>
            <a:ext cx="423671" cy="419012"/>
            <a:chOff x="3968" y="2820"/>
            <a:chExt cx="409" cy="404"/>
          </a:xfrm>
          <a:solidFill>
            <a:schemeClr val="accent1"/>
          </a:solidFill>
        </p:grpSpPr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A531D4C1-E59D-460A-8C6D-3DB59EE221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820"/>
              <a:ext cx="409" cy="153"/>
            </a:xfrm>
            <a:custGeom>
              <a:avLst/>
              <a:gdLst>
                <a:gd name="T0" fmla="*/ 0 w 1809"/>
                <a:gd name="T1" fmla="*/ 0 h 680"/>
                <a:gd name="T2" fmla="*/ 0 w 1809"/>
                <a:gd name="T3" fmla="*/ 0 h 680"/>
                <a:gd name="T4" fmla="*/ 0 w 1809"/>
                <a:gd name="T5" fmla="*/ 0 h 680"/>
                <a:gd name="T6" fmla="*/ 0 w 1809"/>
                <a:gd name="T7" fmla="*/ 0 h 680"/>
                <a:gd name="T8" fmla="*/ 0 w 1809"/>
                <a:gd name="T9" fmla="*/ 0 h 680"/>
                <a:gd name="T10" fmla="*/ 0 w 1809"/>
                <a:gd name="T11" fmla="*/ 0 h 680"/>
                <a:gd name="T12" fmla="*/ 0 w 1809"/>
                <a:gd name="T13" fmla="*/ 0 h 680"/>
                <a:gd name="T14" fmla="*/ 0 w 1809"/>
                <a:gd name="T15" fmla="*/ 0 h 680"/>
                <a:gd name="T16" fmla="*/ 0 w 1809"/>
                <a:gd name="T17" fmla="*/ 0 h 680"/>
                <a:gd name="T18" fmla="*/ 0 w 1809"/>
                <a:gd name="T19" fmla="*/ 0 h 680"/>
                <a:gd name="T20" fmla="*/ 0 w 1809"/>
                <a:gd name="T21" fmla="*/ 0 h 68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09" h="680">
                  <a:moveTo>
                    <a:pt x="1129" y="314"/>
                  </a:moveTo>
                  <a:lnTo>
                    <a:pt x="1129" y="314"/>
                  </a:lnTo>
                  <a:lnTo>
                    <a:pt x="1468" y="466"/>
                  </a:lnTo>
                  <a:lnTo>
                    <a:pt x="1808" y="339"/>
                  </a:lnTo>
                  <a:lnTo>
                    <a:pt x="904" y="0"/>
                  </a:lnTo>
                  <a:lnTo>
                    <a:pt x="0" y="339"/>
                  </a:lnTo>
                  <a:lnTo>
                    <a:pt x="904" y="679"/>
                  </a:lnTo>
                  <a:lnTo>
                    <a:pt x="1242" y="551"/>
                  </a:lnTo>
                  <a:lnTo>
                    <a:pt x="904" y="411"/>
                  </a:lnTo>
                  <a:lnTo>
                    <a:pt x="1129" y="31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0550299-E587-4E94-8A5B-1C6AE7CF1B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8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w 849"/>
                <a:gd name="T19" fmla="*/ 0 h 13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849" h="1337">
                  <a:moveTo>
                    <a:pt x="0" y="0"/>
                  </a:moveTo>
                  <a:lnTo>
                    <a:pt x="0" y="1018"/>
                  </a:lnTo>
                  <a:lnTo>
                    <a:pt x="848" y="1336"/>
                  </a:lnTo>
                  <a:lnTo>
                    <a:pt x="848" y="320"/>
                  </a:lnTo>
                  <a:lnTo>
                    <a:pt x="0" y="0"/>
                  </a:lnTo>
                  <a:close/>
                  <a:moveTo>
                    <a:pt x="451" y="1022"/>
                  </a:moveTo>
                  <a:lnTo>
                    <a:pt x="226" y="936"/>
                  </a:lnTo>
                  <a:lnTo>
                    <a:pt x="226" y="817"/>
                  </a:lnTo>
                  <a:lnTo>
                    <a:pt x="451" y="901"/>
                  </a:lnTo>
                  <a:lnTo>
                    <a:pt x="451" y="1022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46926C4-93B1-4590-9B47-25E327E70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5" y="2923"/>
              <a:ext cx="192" cy="302"/>
            </a:xfrm>
            <a:custGeom>
              <a:avLst/>
              <a:gdLst>
                <a:gd name="T0" fmla="*/ 0 w 849"/>
                <a:gd name="T1" fmla="*/ 0 h 1337"/>
                <a:gd name="T2" fmla="*/ 0 w 849"/>
                <a:gd name="T3" fmla="*/ 0 h 1337"/>
                <a:gd name="T4" fmla="*/ 0 w 849"/>
                <a:gd name="T5" fmla="*/ 0 h 1337"/>
                <a:gd name="T6" fmla="*/ 0 w 849"/>
                <a:gd name="T7" fmla="*/ 0 h 1337"/>
                <a:gd name="T8" fmla="*/ 0 w 849"/>
                <a:gd name="T9" fmla="*/ 0 h 1337"/>
                <a:gd name="T10" fmla="*/ 0 w 849"/>
                <a:gd name="T11" fmla="*/ 0 h 1337"/>
                <a:gd name="T12" fmla="*/ 0 w 849"/>
                <a:gd name="T13" fmla="*/ 0 h 1337"/>
                <a:gd name="T14" fmla="*/ 0 w 849"/>
                <a:gd name="T15" fmla="*/ 0 h 1337"/>
                <a:gd name="T16" fmla="*/ 0 w 849"/>
                <a:gd name="T17" fmla="*/ 0 h 13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49" h="1337">
                  <a:moveTo>
                    <a:pt x="509" y="128"/>
                  </a:moveTo>
                  <a:lnTo>
                    <a:pt x="509" y="412"/>
                  </a:lnTo>
                  <a:lnTo>
                    <a:pt x="282" y="496"/>
                  </a:lnTo>
                  <a:lnTo>
                    <a:pt x="282" y="213"/>
                  </a:lnTo>
                  <a:lnTo>
                    <a:pt x="0" y="320"/>
                  </a:lnTo>
                  <a:lnTo>
                    <a:pt x="0" y="1336"/>
                  </a:lnTo>
                  <a:lnTo>
                    <a:pt x="848" y="1018"/>
                  </a:lnTo>
                  <a:lnTo>
                    <a:pt x="848" y="0"/>
                  </a:lnTo>
                  <a:lnTo>
                    <a:pt x="509" y="12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36" name="Freeform 6">
            <a:extLst>
              <a:ext uri="{FF2B5EF4-FFF2-40B4-BE49-F238E27FC236}">
                <a16:creationId xmlns:a16="http://schemas.microsoft.com/office/drawing/2014/main" id="{F5FC7C12-4FD4-41E8-A993-65C935C82A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3695" y="3485653"/>
            <a:ext cx="279685" cy="455312"/>
          </a:xfrm>
          <a:custGeom>
            <a:avLst/>
            <a:gdLst>
              <a:gd name="T0" fmla="*/ 2147483646 w 1190"/>
              <a:gd name="T1" fmla="*/ 0 h 1938"/>
              <a:gd name="T2" fmla="*/ 2147483646 w 1190"/>
              <a:gd name="T3" fmla="*/ 0 h 1938"/>
              <a:gd name="T4" fmla="*/ 2147483646 w 1190"/>
              <a:gd name="T5" fmla="*/ 0 h 1938"/>
              <a:gd name="T6" fmla="*/ 0 w 1190"/>
              <a:gd name="T7" fmla="*/ 2147483646 h 1938"/>
              <a:gd name="T8" fmla="*/ 0 w 1190"/>
              <a:gd name="T9" fmla="*/ 2147483646 h 1938"/>
              <a:gd name="T10" fmla="*/ 2147483646 w 1190"/>
              <a:gd name="T11" fmla="*/ 2147483646 h 1938"/>
              <a:gd name="T12" fmla="*/ 2147483646 w 1190"/>
              <a:gd name="T13" fmla="*/ 2147483646 h 1938"/>
              <a:gd name="T14" fmla="*/ 2147483646 w 1190"/>
              <a:gd name="T15" fmla="*/ 2147483646 h 1938"/>
              <a:gd name="T16" fmla="*/ 2147483646 w 1190"/>
              <a:gd name="T17" fmla="*/ 2147483646 h 1938"/>
              <a:gd name="T18" fmla="*/ 2147483646 w 1190"/>
              <a:gd name="T19" fmla="*/ 0 h 1938"/>
              <a:gd name="T20" fmla="*/ 2147483646 w 1190"/>
              <a:gd name="T21" fmla="*/ 2147483646 h 1938"/>
              <a:gd name="T22" fmla="*/ 2147483646 w 1190"/>
              <a:gd name="T23" fmla="*/ 2147483646 h 1938"/>
              <a:gd name="T24" fmla="*/ 2147483646 w 1190"/>
              <a:gd name="T25" fmla="*/ 2147483646 h 1938"/>
              <a:gd name="T26" fmla="*/ 2147483646 w 1190"/>
              <a:gd name="T27" fmla="*/ 2147483646 h 1938"/>
              <a:gd name="T28" fmla="*/ 2147483646 w 1190"/>
              <a:gd name="T29" fmla="*/ 2147483646 h 1938"/>
              <a:gd name="T30" fmla="*/ 2147483646 w 1190"/>
              <a:gd name="T31" fmla="*/ 2147483646 h 1938"/>
              <a:gd name="T32" fmla="*/ 2147483646 w 1190"/>
              <a:gd name="T33" fmla="*/ 2147483646 h 1938"/>
              <a:gd name="T34" fmla="*/ 2147483646 w 1190"/>
              <a:gd name="T35" fmla="*/ 2147483646 h 1938"/>
              <a:gd name="T36" fmla="*/ 2147483646 w 1190"/>
              <a:gd name="T37" fmla="*/ 2147483646 h 1938"/>
              <a:gd name="T38" fmla="*/ 2147483646 w 1190"/>
              <a:gd name="T39" fmla="*/ 2147483646 h 1938"/>
              <a:gd name="T40" fmla="*/ 2147483646 w 1190"/>
              <a:gd name="T41" fmla="*/ 2147483646 h 1938"/>
              <a:gd name="T42" fmla="*/ 2147483646 w 1190"/>
              <a:gd name="T43" fmla="*/ 2147483646 h 1938"/>
              <a:gd name="T44" fmla="*/ 2147483646 w 1190"/>
              <a:gd name="T45" fmla="*/ 2147483646 h 1938"/>
              <a:gd name="T46" fmla="*/ 2147483646 w 1190"/>
              <a:gd name="T47" fmla="*/ 2147483646 h 1938"/>
              <a:gd name="T48" fmla="*/ 2147483646 w 1190"/>
              <a:gd name="T49" fmla="*/ 2147483646 h 1938"/>
              <a:gd name="T50" fmla="*/ 2147483646 w 1190"/>
              <a:gd name="T51" fmla="*/ 2147483646 h 1938"/>
              <a:gd name="T52" fmla="*/ 2147483646 w 1190"/>
              <a:gd name="T53" fmla="*/ 2147483646 h 1938"/>
              <a:gd name="T54" fmla="*/ 2147483646 w 1190"/>
              <a:gd name="T55" fmla="*/ 2147483646 h 1938"/>
              <a:gd name="T56" fmla="*/ 2147483646 w 1190"/>
              <a:gd name="T57" fmla="*/ 2147483646 h 1938"/>
              <a:gd name="T58" fmla="*/ 2147483646 w 1190"/>
              <a:gd name="T59" fmla="*/ 2147483646 h 1938"/>
              <a:gd name="T60" fmla="*/ 2147483646 w 1190"/>
              <a:gd name="T61" fmla="*/ 2147483646 h 1938"/>
              <a:gd name="T62" fmla="*/ 2147483646 w 1190"/>
              <a:gd name="T63" fmla="*/ 2147483646 h 1938"/>
              <a:gd name="T64" fmla="*/ 2147483646 w 1190"/>
              <a:gd name="T65" fmla="*/ 2147483646 h 1938"/>
              <a:gd name="T66" fmla="*/ 2147483646 w 1190"/>
              <a:gd name="T67" fmla="*/ 2147483646 h 1938"/>
              <a:gd name="T68" fmla="*/ 2147483646 w 1190"/>
              <a:gd name="T69" fmla="*/ 2147483646 h 19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90" h="1938">
                <a:moveTo>
                  <a:pt x="1036" y="0"/>
                </a:moveTo>
                <a:lnTo>
                  <a:pt x="1036" y="0"/>
                </a:lnTo>
                <a:cubicBezTo>
                  <a:pt x="152" y="0"/>
                  <a:pt x="152" y="0"/>
                  <a:pt x="152" y="0"/>
                </a:cubicBezTo>
                <a:cubicBezTo>
                  <a:pt x="76" y="0"/>
                  <a:pt x="0" y="61"/>
                  <a:pt x="0" y="153"/>
                </a:cubicBezTo>
                <a:cubicBezTo>
                  <a:pt x="0" y="1784"/>
                  <a:pt x="0" y="1784"/>
                  <a:pt x="0" y="1784"/>
                </a:cubicBezTo>
                <a:cubicBezTo>
                  <a:pt x="0" y="1860"/>
                  <a:pt x="76" y="1937"/>
                  <a:pt x="152" y="1937"/>
                </a:cubicBezTo>
                <a:cubicBezTo>
                  <a:pt x="1036" y="1937"/>
                  <a:pt x="1036" y="1937"/>
                  <a:pt x="1036" y="1937"/>
                </a:cubicBezTo>
                <a:cubicBezTo>
                  <a:pt x="1112" y="1937"/>
                  <a:pt x="1189" y="1860"/>
                  <a:pt x="1189" y="1784"/>
                </a:cubicBezTo>
                <a:cubicBezTo>
                  <a:pt x="1189" y="153"/>
                  <a:pt x="1189" y="153"/>
                  <a:pt x="1189" y="153"/>
                </a:cubicBezTo>
                <a:cubicBezTo>
                  <a:pt x="1189" y="61"/>
                  <a:pt x="1112" y="0"/>
                  <a:pt x="1036" y="0"/>
                </a:cubicBezTo>
                <a:close/>
                <a:moveTo>
                  <a:pt x="457" y="137"/>
                </a:moveTo>
                <a:lnTo>
                  <a:pt x="457" y="137"/>
                </a:lnTo>
                <a:cubicBezTo>
                  <a:pt x="457" y="122"/>
                  <a:pt x="473" y="92"/>
                  <a:pt x="488" y="92"/>
                </a:cubicBezTo>
                <a:cubicBezTo>
                  <a:pt x="700" y="92"/>
                  <a:pt x="700" y="92"/>
                  <a:pt x="700" y="92"/>
                </a:cubicBezTo>
                <a:cubicBezTo>
                  <a:pt x="716" y="92"/>
                  <a:pt x="731" y="122"/>
                  <a:pt x="731" y="137"/>
                </a:cubicBezTo>
                <a:cubicBezTo>
                  <a:pt x="731" y="153"/>
                  <a:pt x="716" y="183"/>
                  <a:pt x="700" y="183"/>
                </a:cubicBezTo>
                <a:cubicBezTo>
                  <a:pt x="488" y="183"/>
                  <a:pt x="488" y="183"/>
                  <a:pt x="488" y="183"/>
                </a:cubicBezTo>
                <a:cubicBezTo>
                  <a:pt x="473" y="183"/>
                  <a:pt x="457" y="153"/>
                  <a:pt x="457" y="137"/>
                </a:cubicBezTo>
                <a:close/>
                <a:moveTo>
                  <a:pt x="595" y="1875"/>
                </a:moveTo>
                <a:lnTo>
                  <a:pt x="595" y="1875"/>
                </a:lnTo>
                <a:cubicBezTo>
                  <a:pt x="549" y="1875"/>
                  <a:pt x="503" y="1845"/>
                  <a:pt x="503" y="1799"/>
                </a:cubicBezTo>
                <a:cubicBezTo>
                  <a:pt x="503" y="1753"/>
                  <a:pt x="549" y="1708"/>
                  <a:pt x="595" y="1708"/>
                </a:cubicBezTo>
                <a:cubicBezTo>
                  <a:pt x="639" y="1708"/>
                  <a:pt x="685" y="1753"/>
                  <a:pt x="685" y="1799"/>
                </a:cubicBezTo>
                <a:cubicBezTo>
                  <a:pt x="685" y="1845"/>
                  <a:pt x="639" y="1875"/>
                  <a:pt x="595" y="1875"/>
                </a:cubicBezTo>
                <a:close/>
                <a:moveTo>
                  <a:pt x="1066" y="1631"/>
                </a:moveTo>
                <a:lnTo>
                  <a:pt x="1066" y="1631"/>
                </a:lnTo>
                <a:cubicBezTo>
                  <a:pt x="1066" y="1647"/>
                  <a:pt x="1051" y="1647"/>
                  <a:pt x="1036" y="1647"/>
                </a:cubicBezTo>
                <a:cubicBezTo>
                  <a:pt x="152" y="1647"/>
                  <a:pt x="152" y="1647"/>
                  <a:pt x="152" y="1647"/>
                </a:cubicBezTo>
                <a:cubicBezTo>
                  <a:pt x="137" y="1647"/>
                  <a:pt x="122" y="1647"/>
                  <a:pt x="122" y="1631"/>
                </a:cubicBezTo>
                <a:cubicBezTo>
                  <a:pt x="122" y="305"/>
                  <a:pt x="122" y="305"/>
                  <a:pt x="122" y="305"/>
                </a:cubicBezTo>
                <a:cubicBezTo>
                  <a:pt x="122" y="290"/>
                  <a:pt x="137" y="275"/>
                  <a:pt x="152" y="275"/>
                </a:cubicBezTo>
                <a:cubicBezTo>
                  <a:pt x="1036" y="275"/>
                  <a:pt x="1036" y="275"/>
                  <a:pt x="1036" y="275"/>
                </a:cubicBezTo>
                <a:cubicBezTo>
                  <a:pt x="1051" y="275"/>
                  <a:pt x="1066" y="290"/>
                  <a:pt x="1066" y="305"/>
                </a:cubicBezTo>
                <a:cubicBezTo>
                  <a:pt x="1066" y="1631"/>
                  <a:pt x="1066" y="1631"/>
                  <a:pt x="1066" y="16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37" name="Group 100">
            <a:extLst>
              <a:ext uri="{FF2B5EF4-FFF2-40B4-BE49-F238E27FC236}">
                <a16:creationId xmlns:a16="http://schemas.microsoft.com/office/drawing/2014/main" id="{E14D50E8-C50E-4928-9BC7-10F0B5C1268B}"/>
              </a:ext>
            </a:extLst>
          </p:cNvPr>
          <p:cNvGrpSpPr>
            <a:grpSpLocks/>
          </p:cNvGrpSpPr>
          <p:nvPr/>
        </p:nvGrpSpPr>
        <p:grpSpPr bwMode="auto">
          <a:xfrm>
            <a:off x="1956981" y="3261637"/>
            <a:ext cx="373741" cy="254831"/>
            <a:chOff x="8869363" y="2330450"/>
            <a:chExt cx="893762" cy="595313"/>
          </a:xfrm>
          <a:solidFill>
            <a:schemeClr val="accent1"/>
          </a:solidFill>
        </p:grpSpPr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3FEDC459-B2ED-4FEA-98BE-563BF464DD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69363" y="2330450"/>
              <a:ext cx="523043" cy="595313"/>
            </a:xfrm>
            <a:custGeom>
              <a:avLst/>
              <a:gdLst>
                <a:gd name="T0" fmla="*/ 2147483646 w 1452"/>
                <a:gd name="T1" fmla="*/ 2147483646 h 1654"/>
                <a:gd name="T2" fmla="*/ 2147483646 w 1452"/>
                <a:gd name="T3" fmla="*/ 2147483646 h 1654"/>
                <a:gd name="T4" fmla="*/ 2147483646 w 1452"/>
                <a:gd name="T5" fmla="*/ 2147483646 h 1654"/>
                <a:gd name="T6" fmla="*/ 2147483646 w 1452"/>
                <a:gd name="T7" fmla="*/ 2147483646 h 1654"/>
                <a:gd name="T8" fmla="*/ 2147483646 w 1452"/>
                <a:gd name="T9" fmla="*/ 2147483646 h 1654"/>
                <a:gd name="T10" fmla="*/ 2147483646 w 1452"/>
                <a:gd name="T11" fmla="*/ 2147483646 h 1654"/>
                <a:gd name="T12" fmla="*/ 2147483646 w 1452"/>
                <a:gd name="T13" fmla="*/ 2147483646 h 1654"/>
                <a:gd name="T14" fmla="*/ 2147483646 w 1452"/>
                <a:gd name="T15" fmla="*/ 2147483646 h 1654"/>
                <a:gd name="T16" fmla="*/ 2147483646 w 1452"/>
                <a:gd name="T17" fmla="*/ 0 h 1654"/>
                <a:gd name="T18" fmla="*/ 2147483646 w 1452"/>
                <a:gd name="T19" fmla="*/ 0 h 1654"/>
                <a:gd name="T20" fmla="*/ 0 w 1452"/>
                <a:gd name="T21" fmla="*/ 2147483646 h 1654"/>
                <a:gd name="T22" fmla="*/ 0 w 1452"/>
                <a:gd name="T23" fmla="*/ 2147483646 h 1654"/>
                <a:gd name="T24" fmla="*/ 2147483646 w 1452"/>
                <a:gd name="T25" fmla="*/ 2147483646 h 1654"/>
                <a:gd name="T26" fmla="*/ 2147483646 w 1452"/>
                <a:gd name="T27" fmla="*/ 2147483646 h 1654"/>
                <a:gd name="T28" fmla="*/ 2147483646 w 1452"/>
                <a:gd name="T29" fmla="*/ 2147483646 h 1654"/>
                <a:gd name="T30" fmla="*/ 2147483646 w 1452"/>
                <a:gd name="T31" fmla="*/ 2147483646 h 1654"/>
                <a:gd name="T32" fmla="*/ 2147483646 w 1452"/>
                <a:gd name="T33" fmla="*/ 2147483646 h 1654"/>
                <a:gd name="T34" fmla="*/ 2147483646 w 1452"/>
                <a:gd name="T35" fmla="*/ 2147483646 h 1654"/>
                <a:gd name="T36" fmla="*/ 2147483646 w 1452"/>
                <a:gd name="T37" fmla="*/ 2147483646 h 1654"/>
                <a:gd name="T38" fmla="*/ 2147483646 w 1452"/>
                <a:gd name="T39" fmla="*/ 2147483646 h 1654"/>
                <a:gd name="T40" fmla="*/ 2147483646 w 1452"/>
                <a:gd name="T41" fmla="*/ 2147483646 h 1654"/>
                <a:gd name="T42" fmla="*/ 2147483646 w 1452"/>
                <a:gd name="T43" fmla="*/ 2147483646 h 1654"/>
                <a:gd name="T44" fmla="*/ 2147483646 w 1452"/>
                <a:gd name="T45" fmla="*/ 2147483646 h 1654"/>
                <a:gd name="T46" fmla="*/ 2147483646 w 1452"/>
                <a:gd name="T47" fmla="*/ 2147483646 h 165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2" h="1654">
                  <a:moveTo>
                    <a:pt x="1146" y="1180"/>
                  </a:moveTo>
                  <a:lnTo>
                    <a:pt x="1146" y="1180"/>
                  </a:lnTo>
                  <a:cubicBezTo>
                    <a:pt x="1233" y="1005"/>
                    <a:pt x="1233" y="1005"/>
                    <a:pt x="1233" y="1005"/>
                  </a:cubicBezTo>
                  <a:cubicBezTo>
                    <a:pt x="1241" y="988"/>
                    <a:pt x="1238" y="962"/>
                    <a:pt x="1225" y="944"/>
                  </a:cubicBezTo>
                  <a:cubicBezTo>
                    <a:pt x="1050" y="774"/>
                    <a:pt x="1050" y="774"/>
                    <a:pt x="1050" y="774"/>
                  </a:cubicBezTo>
                  <a:cubicBezTo>
                    <a:pt x="1434" y="293"/>
                    <a:pt x="1434" y="293"/>
                    <a:pt x="1434" y="293"/>
                  </a:cubicBezTo>
                  <a:cubicBezTo>
                    <a:pt x="1451" y="271"/>
                    <a:pt x="1447" y="241"/>
                    <a:pt x="1425" y="219"/>
                  </a:cubicBezTo>
                  <a:cubicBezTo>
                    <a:pt x="1185" y="13"/>
                    <a:pt x="1185" y="13"/>
                    <a:pt x="1185" y="13"/>
                  </a:cubicBezTo>
                  <a:cubicBezTo>
                    <a:pt x="1176" y="4"/>
                    <a:pt x="1163" y="0"/>
                    <a:pt x="1155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92" y="0"/>
                    <a:pt x="0" y="96"/>
                    <a:pt x="0" y="210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1561"/>
                    <a:pt x="92" y="1653"/>
                    <a:pt x="206" y="1653"/>
                  </a:cubicBezTo>
                  <a:cubicBezTo>
                    <a:pt x="1190" y="1653"/>
                    <a:pt x="1190" y="1653"/>
                    <a:pt x="1190" y="1653"/>
                  </a:cubicBezTo>
                  <a:cubicBezTo>
                    <a:pt x="1207" y="1653"/>
                    <a:pt x="1225" y="1644"/>
                    <a:pt x="1233" y="1627"/>
                  </a:cubicBezTo>
                  <a:cubicBezTo>
                    <a:pt x="1337" y="1421"/>
                    <a:pt x="1337" y="1421"/>
                    <a:pt x="1337" y="1421"/>
                  </a:cubicBezTo>
                  <a:cubicBezTo>
                    <a:pt x="1346" y="1399"/>
                    <a:pt x="1342" y="1377"/>
                    <a:pt x="1324" y="1360"/>
                  </a:cubicBezTo>
                  <a:lnTo>
                    <a:pt x="1146" y="1180"/>
                  </a:lnTo>
                  <a:close/>
                  <a:moveTo>
                    <a:pt x="101" y="621"/>
                  </a:moveTo>
                  <a:lnTo>
                    <a:pt x="101" y="621"/>
                  </a:lnTo>
                  <a:cubicBezTo>
                    <a:pt x="101" y="416"/>
                    <a:pt x="101" y="416"/>
                    <a:pt x="101" y="416"/>
                  </a:cubicBezTo>
                  <a:cubicBezTo>
                    <a:pt x="1203" y="416"/>
                    <a:pt x="1203" y="416"/>
                    <a:pt x="1203" y="416"/>
                  </a:cubicBezTo>
                  <a:cubicBezTo>
                    <a:pt x="1037" y="621"/>
                    <a:pt x="1037" y="621"/>
                    <a:pt x="1037" y="621"/>
                  </a:cubicBezTo>
                  <a:lnTo>
                    <a:pt x="101" y="621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86771490-1042-444A-860A-0DD5B2C4E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13491" y="2330450"/>
              <a:ext cx="449634" cy="595313"/>
            </a:xfrm>
            <a:custGeom>
              <a:avLst/>
              <a:gdLst>
                <a:gd name="T0" fmla="*/ 2147483646 w 1247"/>
                <a:gd name="T1" fmla="*/ 0 h 1654"/>
                <a:gd name="T2" fmla="*/ 2147483646 w 1247"/>
                <a:gd name="T3" fmla="*/ 0 h 1654"/>
                <a:gd name="T4" fmla="*/ 2147483646 w 1247"/>
                <a:gd name="T5" fmla="*/ 0 h 1654"/>
                <a:gd name="T6" fmla="*/ 2147483646 w 1247"/>
                <a:gd name="T7" fmla="*/ 2147483646 h 1654"/>
                <a:gd name="T8" fmla="*/ 2147483646 w 1247"/>
                <a:gd name="T9" fmla="*/ 2147483646 h 1654"/>
                <a:gd name="T10" fmla="*/ 2147483646 w 1247"/>
                <a:gd name="T11" fmla="*/ 2147483646 h 1654"/>
                <a:gd name="T12" fmla="*/ 2147483646 w 1247"/>
                <a:gd name="T13" fmla="*/ 2147483646 h 1654"/>
                <a:gd name="T14" fmla="*/ 2147483646 w 1247"/>
                <a:gd name="T15" fmla="*/ 2147483646 h 1654"/>
                <a:gd name="T16" fmla="*/ 2147483646 w 1247"/>
                <a:gd name="T17" fmla="*/ 2147483646 h 1654"/>
                <a:gd name="T18" fmla="*/ 2147483646 w 1247"/>
                <a:gd name="T19" fmla="*/ 2147483646 h 1654"/>
                <a:gd name="T20" fmla="*/ 2147483646 w 1247"/>
                <a:gd name="T21" fmla="*/ 2147483646 h 1654"/>
                <a:gd name="T22" fmla="*/ 2147483646 w 1247"/>
                <a:gd name="T23" fmla="*/ 2147483646 h 1654"/>
                <a:gd name="T24" fmla="*/ 2147483646 w 1247"/>
                <a:gd name="T25" fmla="*/ 2147483646 h 1654"/>
                <a:gd name="T26" fmla="*/ 2147483646 w 1247"/>
                <a:gd name="T27" fmla="*/ 2147483646 h 1654"/>
                <a:gd name="T28" fmla="*/ 2147483646 w 1247"/>
                <a:gd name="T29" fmla="*/ 2147483646 h 1654"/>
                <a:gd name="T30" fmla="*/ 2147483646 w 1247"/>
                <a:gd name="T31" fmla="*/ 2147483646 h 1654"/>
                <a:gd name="T32" fmla="*/ 2147483646 w 1247"/>
                <a:gd name="T33" fmla="*/ 2147483646 h 1654"/>
                <a:gd name="T34" fmla="*/ 2147483646 w 1247"/>
                <a:gd name="T35" fmla="*/ 2147483646 h 1654"/>
                <a:gd name="T36" fmla="*/ 2147483646 w 1247"/>
                <a:gd name="T37" fmla="*/ 0 h 1654"/>
                <a:gd name="T38" fmla="*/ 2147483646 w 1247"/>
                <a:gd name="T39" fmla="*/ 2147483646 h 1654"/>
                <a:gd name="T40" fmla="*/ 2147483646 w 1247"/>
                <a:gd name="T41" fmla="*/ 2147483646 h 1654"/>
                <a:gd name="T42" fmla="*/ 2147483646 w 1247"/>
                <a:gd name="T43" fmla="*/ 2147483646 h 1654"/>
                <a:gd name="T44" fmla="*/ 2147483646 w 1247"/>
                <a:gd name="T45" fmla="*/ 2147483646 h 1654"/>
                <a:gd name="T46" fmla="*/ 2147483646 w 1247"/>
                <a:gd name="T47" fmla="*/ 2147483646 h 1654"/>
                <a:gd name="T48" fmla="*/ 2147483646 w 1247"/>
                <a:gd name="T49" fmla="*/ 2147483646 h 16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47" h="1654">
                  <a:moveTo>
                    <a:pt x="1040" y="0"/>
                  </a:moveTo>
                  <a:lnTo>
                    <a:pt x="1040" y="0"/>
                  </a:lnTo>
                  <a:cubicBezTo>
                    <a:pt x="231" y="0"/>
                    <a:pt x="231" y="0"/>
                    <a:pt x="231" y="0"/>
                  </a:cubicBezTo>
                  <a:cubicBezTo>
                    <a:pt x="209" y="0"/>
                    <a:pt x="187" y="13"/>
                    <a:pt x="179" y="35"/>
                  </a:cubicBezTo>
                  <a:cubicBezTo>
                    <a:pt x="174" y="57"/>
                    <a:pt x="179" y="79"/>
                    <a:pt x="196" y="92"/>
                  </a:cubicBezTo>
                  <a:cubicBezTo>
                    <a:pt x="397" y="267"/>
                    <a:pt x="397" y="267"/>
                    <a:pt x="397" y="267"/>
                  </a:cubicBezTo>
                  <a:cubicBezTo>
                    <a:pt x="17" y="744"/>
                    <a:pt x="17" y="744"/>
                    <a:pt x="17" y="744"/>
                  </a:cubicBezTo>
                  <a:cubicBezTo>
                    <a:pt x="0" y="766"/>
                    <a:pt x="5" y="796"/>
                    <a:pt x="21" y="814"/>
                  </a:cubicBezTo>
                  <a:cubicBezTo>
                    <a:pt x="201" y="992"/>
                    <a:pt x="201" y="992"/>
                    <a:pt x="201" y="992"/>
                  </a:cubicBezTo>
                  <a:cubicBezTo>
                    <a:pt x="113" y="1167"/>
                    <a:pt x="113" y="1167"/>
                    <a:pt x="113" y="1167"/>
                  </a:cubicBezTo>
                  <a:cubicBezTo>
                    <a:pt x="104" y="1185"/>
                    <a:pt x="109" y="1211"/>
                    <a:pt x="122" y="1224"/>
                  </a:cubicBezTo>
                  <a:cubicBezTo>
                    <a:pt x="306" y="1408"/>
                    <a:pt x="306" y="1408"/>
                    <a:pt x="306" y="1408"/>
                  </a:cubicBezTo>
                  <a:cubicBezTo>
                    <a:pt x="218" y="1579"/>
                    <a:pt x="218" y="1579"/>
                    <a:pt x="218" y="1579"/>
                  </a:cubicBezTo>
                  <a:cubicBezTo>
                    <a:pt x="209" y="1596"/>
                    <a:pt x="209" y="1614"/>
                    <a:pt x="218" y="1631"/>
                  </a:cubicBezTo>
                  <a:cubicBezTo>
                    <a:pt x="231" y="1644"/>
                    <a:pt x="244" y="1653"/>
                    <a:pt x="262" y="1653"/>
                  </a:cubicBezTo>
                  <a:cubicBezTo>
                    <a:pt x="1040" y="1653"/>
                    <a:pt x="1040" y="1653"/>
                    <a:pt x="1040" y="1653"/>
                  </a:cubicBezTo>
                  <a:cubicBezTo>
                    <a:pt x="1154" y="1653"/>
                    <a:pt x="1246" y="1561"/>
                    <a:pt x="1246" y="1447"/>
                  </a:cubicBezTo>
                  <a:cubicBezTo>
                    <a:pt x="1246" y="210"/>
                    <a:pt x="1246" y="210"/>
                    <a:pt x="1246" y="210"/>
                  </a:cubicBezTo>
                  <a:cubicBezTo>
                    <a:pt x="1246" y="96"/>
                    <a:pt x="1154" y="0"/>
                    <a:pt x="1040" y="0"/>
                  </a:cubicBezTo>
                  <a:close/>
                  <a:moveTo>
                    <a:pt x="1141" y="621"/>
                  </a:moveTo>
                  <a:lnTo>
                    <a:pt x="1141" y="621"/>
                  </a:lnTo>
                  <a:cubicBezTo>
                    <a:pt x="249" y="621"/>
                    <a:pt x="249" y="621"/>
                    <a:pt x="249" y="621"/>
                  </a:cubicBezTo>
                  <a:cubicBezTo>
                    <a:pt x="410" y="416"/>
                    <a:pt x="410" y="416"/>
                    <a:pt x="410" y="416"/>
                  </a:cubicBezTo>
                  <a:cubicBezTo>
                    <a:pt x="1141" y="416"/>
                    <a:pt x="1141" y="416"/>
                    <a:pt x="1141" y="416"/>
                  </a:cubicBezTo>
                  <a:cubicBezTo>
                    <a:pt x="1141" y="621"/>
                    <a:pt x="1141" y="621"/>
                    <a:pt x="1141" y="62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0" name="Group 53">
            <a:extLst>
              <a:ext uri="{FF2B5EF4-FFF2-40B4-BE49-F238E27FC236}">
                <a16:creationId xmlns:a16="http://schemas.microsoft.com/office/drawing/2014/main" id="{A78F9B4E-BD57-45AC-BD98-8EBCBAAEB75B}"/>
              </a:ext>
            </a:extLst>
          </p:cNvPr>
          <p:cNvGrpSpPr>
            <a:grpSpLocks/>
          </p:cNvGrpSpPr>
          <p:nvPr/>
        </p:nvGrpSpPr>
        <p:grpSpPr bwMode="auto">
          <a:xfrm>
            <a:off x="4070445" y="4111678"/>
            <a:ext cx="279635" cy="453375"/>
            <a:chOff x="2707" y="2707"/>
            <a:chExt cx="269" cy="438"/>
          </a:xfrm>
          <a:solidFill>
            <a:schemeClr val="accent1"/>
          </a:solidFill>
        </p:grpSpPr>
        <p:sp>
          <p:nvSpPr>
            <p:cNvPr id="41" name="Freeform 54">
              <a:extLst>
                <a:ext uri="{FF2B5EF4-FFF2-40B4-BE49-F238E27FC236}">
                  <a16:creationId xmlns:a16="http://schemas.microsoft.com/office/drawing/2014/main" id="{E2731746-739C-44C2-AE59-C55F0844F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7" y="2707"/>
              <a:ext cx="269" cy="438"/>
            </a:xfrm>
            <a:custGeom>
              <a:avLst/>
              <a:gdLst>
                <a:gd name="T0" fmla="*/ 0 w 1190"/>
                <a:gd name="T1" fmla="*/ 0 h 1938"/>
                <a:gd name="T2" fmla="*/ 0 w 1190"/>
                <a:gd name="T3" fmla="*/ 0 h 1938"/>
                <a:gd name="T4" fmla="*/ 0 w 1190"/>
                <a:gd name="T5" fmla="*/ 0 h 1938"/>
                <a:gd name="T6" fmla="*/ 0 w 1190"/>
                <a:gd name="T7" fmla="*/ 0 h 1938"/>
                <a:gd name="T8" fmla="*/ 0 w 1190"/>
                <a:gd name="T9" fmla="*/ 0 h 1938"/>
                <a:gd name="T10" fmla="*/ 0 w 1190"/>
                <a:gd name="T11" fmla="*/ 0 h 1938"/>
                <a:gd name="T12" fmla="*/ 0 w 1190"/>
                <a:gd name="T13" fmla="*/ 0 h 1938"/>
                <a:gd name="T14" fmla="*/ 0 w 1190"/>
                <a:gd name="T15" fmla="*/ 0 h 1938"/>
                <a:gd name="T16" fmla="*/ 0 w 1190"/>
                <a:gd name="T17" fmla="*/ 0 h 1938"/>
                <a:gd name="T18" fmla="*/ 0 w 1190"/>
                <a:gd name="T19" fmla="*/ 0 h 1938"/>
                <a:gd name="T20" fmla="*/ 0 w 1190"/>
                <a:gd name="T21" fmla="*/ 0 h 1938"/>
                <a:gd name="T22" fmla="*/ 0 w 1190"/>
                <a:gd name="T23" fmla="*/ 0 h 1938"/>
                <a:gd name="T24" fmla="*/ 0 w 1190"/>
                <a:gd name="T25" fmla="*/ 0 h 1938"/>
                <a:gd name="T26" fmla="*/ 0 w 1190"/>
                <a:gd name="T27" fmla="*/ 0 h 1938"/>
                <a:gd name="T28" fmla="*/ 0 w 1190"/>
                <a:gd name="T29" fmla="*/ 0 h 1938"/>
                <a:gd name="T30" fmla="*/ 0 w 1190"/>
                <a:gd name="T31" fmla="*/ 0 h 1938"/>
                <a:gd name="T32" fmla="*/ 0 w 1190"/>
                <a:gd name="T33" fmla="*/ 0 h 1938"/>
                <a:gd name="T34" fmla="*/ 0 w 1190"/>
                <a:gd name="T35" fmla="*/ 0 h 1938"/>
                <a:gd name="T36" fmla="*/ 0 w 1190"/>
                <a:gd name="T37" fmla="*/ 0 h 1938"/>
                <a:gd name="T38" fmla="*/ 0 w 1190"/>
                <a:gd name="T39" fmla="*/ 0 h 1938"/>
                <a:gd name="T40" fmla="*/ 0 w 1190"/>
                <a:gd name="T41" fmla="*/ 0 h 1938"/>
                <a:gd name="T42" fmla="*/ 0 w 1190"/>
                <a:gd name="T43" fmla="*/ 0 h 1938"/>
                <a:gd name="T44" fmla="*/ 0 w 1190"/>
                <a:gd name="T45" fmla="*/ 0 h 1938"/>
                <a:gd name="T46" fmla="*/ 0 w 1190"/>
                <a:gd name="T47" fmla="*/ 0 h 1938"/>
                <a:gd name="T48" fmla="*/ 0 w 1190"/>
                <a:gd name="T49" fmla="*/ 0 h 1938"/>
                <a:gd name="T50" fmla="*/ 0 w 1190"/>
                <a:gd name="T51" fmla="*/ 0 h 1938"/>
                <a:gd name="T52" fmla="*/ 0 w 1190"/>
                <a:gd name="T53" fmla="*/ 0 h 1938"/>
                <a:gd name="T54" fmla="*/ 0 w 1190"/>
                <a:gd name="T55" fmla="*/ 0 h 1938"/>
                <a:gd name="T56" fmla="*/ 0 w 1190"/>
                <a:gd name="T57" fmla="*/ 0 h 1938"/>
                <a:gd name="T58" fmla="*/ 0 w 1190"/>
                <a:gd name="T59" fmla="*/ 0 h 1938"/>
                <a:gd name="T60" fmla="*/ 0 w 1190"/>
                <a:gd name="T61" fmla="*/ 0 h 1938"/>
                <a:gd name="T62" fmla="*/ 0 w 1190"/>
                <a:gd name="T63" fmla="*/ 0 h 1938"/>
                <a:gd name="T64" fmla="*/ 0 w 1190"/>
                <a:gd name="T65" fmla="*/ 0 h 1938"/>
                <a:gd name="T66" fmla="*/ 0 w 1190"/>
                <a:gd name="T67" fmla="*/ 0 h 1938"/>
                <a:gd name="T68" fmla="*/ 0 w 1190"/>
                <a:gd name="T69" fmla="*/ 0 h 19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90" h="1938">
                  <a:moveTo>
                    <a:pt x="1036" y="0"/>
                  </a:moveTo>
                  <a:lnTo>
                    <a:pt x="1036" y="0"/>
                  </a:lnTo>
                  <a:cubicBezTo>
                    <a:pt x="152" y="0"/>
                    <a:pt x="152" y="0"/>
                    <a:pt x="152" y="0"/>
                  </a:cubicBezTo>
                  <a:cubicBezTo>
                    <a:pt x="76" y="0"/>
                    <a:pt x="0" y="61"/>
                    <a:pt x="0" y="153"/>
                  </a:cubicBezTo>
                  <a:cubicBezTo>
                    <a:pt x="0" y="1784"/>
                    <a:pt x="0" y="1784"/>
                    <a:pt x="0" y="1784"/>
                  </a:cubicBezTo>
                  <a:cubicBezTo>
                    <a:pt x="0" y="1860"/>
                    <a:pt x="76" y="1937"/>
                    <a:pt x="152" y="1937"/>
                  </a:cubicBezTo>
                  <a:cubicBezTo>
                    <a:pt x="1036" y="1937"/>
                    <a:pt x="1036" y="1937"/>
                    <a:pt x="1036" y="1937"/>
                  </a:cubicBezTo>
                  <a:cubicBezTo>
                    <a:pt x="1112" y="1937"/>
                    <a:pt x="1189" y="1860"/>
                    <a:pt x="1189" y="1784"/>
                  </a:cubicBezTo>
                  <a:cubicBezTo>
                    <a:pt x="1189" y="153"/>
                    <a:pt x="1189" y="153"/>
                    <a:pt x="1189" y="153"/>
                  </a:cubicBezTo>
                  <a:cubicBezTo>
                    <a:pt x="1189" y="61"/>
                    <a:pt x="1112" y="0"/>
                    <a:pt x="1036" y="0"/>
                  </a:cubicBezTo>
                  <a:close/>
                  <a:moveTo>
                    <a:pt x="457" y="137"/>
                  </a:moveTo>
                  <a:lnTo>
                    <a:pt x="457" y="137"/>
                  </a:lnTo>
                  <a:cubicBezTo>
                    <a:pt x="457" y="122"/>
                    <a:pt x="473" y="92"/>
                    <a:pt x="488" y="92"/>
                  </a:cubicBezTo>
                  <a:cubicBezTo>
                    <a:pt x="700" y="92"/>
                    <a:pt x="700" y="92"/>
                    <a:pt x="700" y="92"/>
                  </a:cubicBezTo>
                  <a:cubicBezTo>
                    <a:pt x="716" y="92"/>
                    <a:pt x="731" y="122"/>
                    <a:pt x="731" y="137"/>
                  </a:cubicBezTo>
                  <a:cubicBezTo>
                    <a:pt x="731" y="153"/>
                    <a:pt x="716" y="183"/>
                    <a:pt x="700" y="183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73" y="183"/>
                    <a:pt x="457" y="153"/>
                    <a:pt x="457" y="137"/>
                  </a:cubicBezTo>
                  <a:close/>
                  <a:moveTo>
                    <a:pt x="595" y="1875"/>
                  </a:moveTo>
                  <a:lnTo>
                    <a:pt x="595" y="1875"/>
                  </a:lnTo>
                  <a:cubicBezTo>
                    <a:pt x="549" y="1875"/>
                    <a:pt x="503" y="1845"/>
                    <a:pt x="503" y="1799"/>
                  </a:cubicBezTo>
                  <a:cubicBezTo>
                    <a:pt x="503" y="1753"/>
                    <a:pt x="549" y="1708"/>
                    <a:pt x="595" y="1708"/>
                  </a:cubicBezTo>
                  <a:cubicBezTo>
                    <a:pt x="639" y="1708"/>
                    <a:pt x="685" y="1753"/>
                    <a:pt x="685" y="1799"/>
                  </a:cubicBezTo>
                  <a:cubicBezTo>
                    <a:pt x="685" y="1845"/>
                    <a:pt x="639" y="1875"/>
                    <a:pt x="595" y="1875"/>
                  </a:cubicBezTo>
                  <a:close/>
                  <a:moveTo>
                    <a:pt x="1066" y="1631"/>
                  </a:moveTo>
                  <a:lnTo>
                    <a:pt x="1066" y="1631"/>
                  </a:lnTo>
                  <a:cubicBezTo>
                    <a:pt x="1066" y="1647"/>
                    <a:pt x="1051" y="1647"/>
                    <a:pt x="1036" y="1647"/>
                  </a:cubicBezTo>
                  <a:cubicBezTo>
                    <a:pt x="152" y="1647"/>
                    <a:pt x="152" y="1647"/>
                    <a:pt x="152" y="1647"/>
                  </a:cubicBezTo>
                  <a:cubicBezTo>
                    <a:pt x="137" y="1647"/>
                    <a:pt x="122" y="1647"/>
                    <a:pt x="122" y="163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2" y="290"/>
                    <a:pt x="137" y="275"/>
                    <a:pt x="152" y="275"/>
                  </a:cubicBezTo>
                  <a:cubicBezTo>
                    <a:pt x="1036" y="275"/>
                    <a:pt x="1036" y="275"/>
                    <a:pt x="1036" y="275"/>
                  </a:cubicBezTo>
                  <a:cubicBezTo>
                    <a:pt x="1051" y="275"/>
                    <a:pt x="1066" y="290"/>
                    <a:pt x="1066" y="305"/>
                  </a:cubicBezTo>
                  <a:cubicBezTo>
                    <a:pt x="1066" y="1631"/>
                    <a:pt x="1066" y="1631"/>
                    <a:pt x="1066" y="1631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2" name="Freeform 55">
              <a:extLst>
                <a:ext uri="{FF2B5EF4-FFF2-40B4-BE49-F238E27FC236}">
                  <a16:creationId xmlns:a16="http://schemas.microsoft.com/office/drawing/2014/main" id="{2C032F23-D80D-445A-A0F0-3AE7F6AEC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155" cy="155"/>
            </a:xfrm>
            <a:custGeom>
              <a:avLst/>
              <a:gdLst>
                <a:gd name="T0" fmla="*/ 0 w 686"/>
                <a:gd name="T1" fmla="*/ 0 h 687"/>
                <a:gd name="T2" fmla="*/ 0 w 686"/>
                <a:gd name="T3" fmla="*/ 0 h 687"/>
                <a:gd name="T4" fmla="*/ 0 w 686"/>
                <a:gd name="T5" fmla="*/ 0 h 687"/>
                <a:gd name="T6" fmla="*/ 0 w 686"/>
                <a:gd name="T7" fmla="*/ 0 h 687"/>
                <a:gd name="T8" fmla="*/ 0 w 686"/>
                <a:gd name="T9" fmla="*/ 0 h 687"/>
                <a:gd name="T10" fmla="*/ 0 w 686"/>
                <a:gd name="T11" fmla="*/ 0 h 687"/>
                <a:gd name="T12" fmla="*/ 0 w 686"/>
                <a:gd name="T13" fmla="*/ 0 h 687"/>
                <a:gd name="T14" fmla="*/ 0 w 686"/>
                <a:gd name="T15" fmla="*/ 0 h 68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86" h="687">
                  <a:moveTo>
                    <a:pt x="365" y="0"/>
                  </a:moveTo>
                  <a:lnTo>
                    <a:pt x="365" y="0"/>
                  </a:lnTo>
                  <a:cubicBezTo>
                    <a:pt x="365" y="304"/>
                    <a:pt x="365" y="304"/>
                    <a:pt x="365" y="304"/>
                  </a:cubicBezTo>
                  <a:cubicBezTo>
                    <a:pt x="365" y="335"/>
                    <a:pt x="336" y="365"/>
                    <a:pt x="305" y="365"/>
                  </a:cubicBezTo>
                  <a:cubicBezTo>
                    <a:pt x="0" y="365"/>
                    <a:pt x="0" y="365"/>
                    <a:pt x="0" y="365"/>
                  </a:cubicBezTo>
                  <a:cubicBezTo>
                    <a:pt x="15" y="533"/>
                    <a:pt x="168" y="686"/>
                    <a:pt x="350" y="670"/>
                  </a:cubicBezTo>
                  <a:cubicBezTo>
                    <a:pt x="518" y="655"/>
                    <a:pt x="655" y="518"/>
                    <a:pt x="670" y="350"/>
                  </a:cubicBezTo>
                  <a:cubicBezTo>
                    <a:pt x="685" y="168"/>
                    <a:pt x="548" y="15"/>
                    <a:pt x="36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3" name="Freeform 56">
              <a:extLst>
                <a:ext uri="{FF2B5EF4-FFF2-40B4-BE49-F238E27FC236}">
                  <a16:creationId xmlns:a16="http://schemas.microsoft.com/office/drawing/2014/main" id="{72CF6E81-9961-4DEE-BB0E-80828A0A42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6" y="2859"/>
              <a:ext cx="68" cy="68"/>
            </a:xfrm>
            <a:custGeom>
              <a:avLst/>
              <a:gdLst>
                <a:gd name="T0" fmla="*/ 0 w 306"/>
                <a:gd name="T1" fmla="*/ 0 h 305"/>
                <a:gd name="T2" fmla="*/ 0 w 306"/>
                <a:gd name="T3" fmla="*/ 0 h 305"/>
                <a:gd name="T4" fmla="*/ 0 w 306"/>
                <a:gd name="T5" fmla="*/ 0 h 305"/>
                <a:gd name="T6" fmla="*/ 0 w 306"/>
                <a:gd name="T7" fmla="*/ 0 h 305"/>
                <a:gd name="T8" fmla="*/ 0 w 306"/>
                <a:gd name="T9" fmla="*/ 0 h 305"/>
                <a:gd name="T10" fmla="*/ 0 w 306"/>
                <a:gd name="T11" fmla="*/ 0 h 30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6" h="305">
                  <a:moveTo>
                    <a:pt x="305" y="275"/>
                  </a:moveTo>
                  <a:lnTo>
                    <a:pt x="305" y="275"/>
                  </a:lnTo>
                  <a:cubicBezTo>
                    <a:pt x="305" y="0"/>
                    <a:pt x="305" y="0"/>
                    <a:pt x="305" y="0"/>
                  </a:cubicBezTo>
                  <a:cubicBezTo>
                    <a:pt x="137" y="15"/>
                    <a:pt x="15" y="137"/>
                    <a:pt x="0" y="304"/>
                  </a:cubicBezTo>
                  <a:cubicBezTo>
                    <a:pt x="290" y="304"/>
                    <a:pt x="290" y="304"/>
                    <a:pt x="290" y="304"/>
                  </a:cubicBezTo>
                  <a:cubicBezTo>
                    <a:pt x="305" y="304"/>
                    <a:pt x="305" y="290"/>
                    <a:pt x="305" y="27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4" name="Group 184">
            <a:extLst>
              <a:ext uri="{FF2B5EF4-FFF2-40B4-BE49-F238E27FC236}">
                <a16:creationId xmlns:a16="http://schemas.microsoft.com/office/drawing/2014/main" id="{AA7A6DF7-E824-48B2-9AD2-64425033EF1B}"/>
              </a:ext>
            </a:extLst>
          </p:cNvPr>
          <p:cNvGrpSpPr>
            <a:grpSpLocks/>
          </p:cNvGrpSpPr>
          <p:nvPr/>
        </p:nvGrpSpPr>
        <p:grpSpPr bwMode="auto">
          <a:xfrm>
            <a:off x="2427375" y="2646354"/>
            <a:ext cx="397103" cy="397480"/>
            <a:chOff x="4147" y="173"/>
            <a:chExt cx="344" cy="345"/>
          </a:xfrm>
          <a:solidFill>
            <a:schemeClr val="accent1"/>
          </a:solidFill>
        </p:grpSpPr>
        <p:sp>
          <p:nvSpPr>
            <p:cNvPr id="45" name="Freeform 414">
              <a:extLst>
                <a:ext uri="{FF2B5EF4-FFF2-40B4-BE49-F238E27FC236}">
                  <a16:creationId xmlns:a16="http://schemas.microsoft.com/office/drawing/2014/main" id="{4D250BAA-6E72-4EB1-B286-F46A49C718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6" y="203"/>
              <a:ext cx="316" cy="315"/>
            </a:xfrm>
            <a:custGeom>
              <a:avLst/>
              <a:gdLst>
                <a:gd name="T0" fmla="*/ 0 w 1396"/>
                <a:gd name="T1" fmla="*/ 0 h 1394"/>
                <a:gd name="T2" fmla="*/ 0 w 1396"/>
                <a:gd name="T3" fmla="*/ 0 h 1394"/>
                <a:gd name="T4" fmla="*/ 0 w 1396"/>
                <a:gd name="T5" fmla="*/ 0 h 1394"/>
                <a:gd name="T6" fmla="*/ 0 w 1396"/>
                <a:gd name="T7" fmla="*/ 0 h 1394"/>
                <a:gd name="T8" fmla="*/ 0 w 1396"/>
                <a:gd name="T9" fmla="*/ 0 h 1394"/>
                <a:gd name="T10" fmla="*/ 0 w 1396"/>
                <a:gd name="T11" fmla="*/ 0 h 1394"/>
                <a:gd name="T12" fmla="*/ 0 w 1396"/>
                <a:gd name="T13" fmla="*/ 0 h 1394"/>
                <a:gd name="T14" fmla="*/ 0 w 1396"/>
                <a:gd name="T15" fmla="*/ 0 h 1394"/>
                <a:gd name="T16" fmla="*/ 0 w 1396"/>
                <a:gd name="T17" fmla="*/ 0 h 1394"/>
                <a:gd name="T18" fmla="*/ 0 w 1396"/>
                <a:gd name="T19" fmla="*/ 0 h 1394"/>
                <a:gd name="T20" fmla="*/ 0 w 1396"/>
                <a:gd name="T21" fmla="*/ 0 h 1394"/>
                <a:gd name="T22" fmla="*/ 0 w 1396"/>
                <a:gd name="T23" fmla="*/ 0 h 1394"/>
                <a:gd name="T24" fmla="*/ 0 w 1396"/>
                <a:gd name="T25" fmla="*/ 0 h 1394"/>
                <a:gd name="T26" fmla="*/ 0 w 1396"/>
                <a:gd name="T27" fmla="*/ 0 h 1394"/>
                <a:gd name="T28" fmla="*/ 0 w 1396"/>
                <a:gd name="T29" fmla="*/ 0 h 1394"/>
                <a:gd name="T30" fmla="*/ 0 w 1396"/>
                <a:gd name="T31" fmla="*/ 0 h 1394"/>
                <a:gd name="T32" fmla="*/ 0 w 1396"/>
                <a:gd name="T33" fmla="*/ 0 h 1394"/>
                <a:gd name="T34" fmla="*/ 0 w 1396"/>
                <a:gd name="T35" fmla="*/ 0 h 1394"/>
                <a:gd name="T36" fmla="*/ 0 w 1396"/>
                <a:gd name="T37" fmla="*/ 0 h 1394"/>
                <a:gd name="T38" fmla="*/ 0 w 1396"/>
                <a:gd name="T39" fmla="*/ 0 h 1394"/>
                <a:gd name="T40" fmla="*/ 0 w 1396"/>
                <a:gd name="T41" fmla="*/ 0 h 1394"/>
                <a:gd name="T42" fmla="*/ 0 w 1396"/>
                <a:gd name="T43" fmla="*/ 0 h 1394"/>
                <a:gd name="T44" fmla="*/ 0 w 1396"/>
                <a:gd name="T45" fmla="*/ 0 h 1394"/>
                <a:gd name="T46" fmla="*/ 0 w 1396"/>
                <a:gd name="T47" fmla="*/ 0 h 139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396" h="1394">
                  <a:moveTo>
                    <a:pt x="1163" y="874"/>
                  </a:moveTo>
                  <a:lnTo>
                    <a:pt x="1163" y="874"/>
                  </a:lnTo>
                  <a:cubicBezTo>
                    <a:pt x="1112" y="824"/>
                    <a:pt x="1051" y="824"/>
                    <a:pt x="1001" y="874"/>
                  </a:cubicBezTo>
                  <a:cubicBezTo>
                    <a:pt x="963" y="911"/>
                    <a:pt x="926" y="949"/>
                    <a:pt x="888" y="987"/>
                  </a:cubicBezTo>
                  <a:cubicBezTo>
                    <a:pt x="879" y="998"/>
                    <a:pt x="871" y="999"/>
                    <a:pt x="857" y="992"/>
                  </a:cubicBezTo>
                  <a:cubicBezTo>
                    <a:pt x="833" y="979"/>
                    <a:pt x="807" y="968"/>
                    <a:pt x="784" y="954"/>
                  </a:cubicBezTo>
                  <a:cubicBezTo>
                    <a:pt x="675" y="885"/>
                    <a:pt x="584" y="797"/>
                    <a:pt x="502" y="696"/>
                  </a:cubicBezTo>
                  <a:cubicBezTo>
                    <a:pt x="461" y="647"/>
                    <a:pt x="426" y="595"/>
                    <a:pt x="402" y="535"/>
                  </a:cubicBezTo>
                  <a:cubicBezTo>
                    <a:pt x="396" y="523"/>
                    <a:pt x="398" y="515"/>
                    <a:pt x="407" y="506"/>
                  </a:cubicBezTo>
                  <a:cubicBezTo>
                    <a:pt x="445" y="469"/>
                    <a:pt x="482" y="432"/>
                    <a:pt x="518" y="394"/>
                  </a:cubicBezTo>
                  <a:cubicBezTo>
                    <a:pt x="570" y="343"/>
                    <a:pt x="570" y="282"/>
                    <a:pt x="518" y="229"/>
                  </a:cubicBezTo>
                  <a:cubicBezTo>
                    <a:pt x="489" y="199"/>
                    <a:pt x="459" y="170"/>
                    <a:pt x="430" y="140"/>
                  </a:cubicBezTo>
                  <a:cubicBezTo>
                    <a:pt x="399" y="109"/>
                    <a:pt x="369" y="79"/>
                    <a:pt x="338" y="49"/>
                  </a:cubicBezTo>
                  <a:cubicBezTo>
                    <a:pt x="289" y="0"/>
                    <a:pt x="226" y="0"/>
                    <a:pt x="176" y="49"/>
                  </a:cubicBezTo>
                  <a:cubicBezTo>
                    <a:pt x="138" y="86"/>
                    <a:pt x="103" y="125"/>
                    <a:pt x="63" y="162"/>
                  </a:cubicBezTo>
                  <a:cubicBezTo>
                    <a:pt x="28" y="196"/>
                    <a:pt x="9" y="237"/>
                    <a:pt x="6" y="286"/>
                  </a:cubicBezTo>
                  <a:cubicBezTo>
                    <a:pt x="0" y="364"/>
                    <a:pt x="19" y="439"/>
                    <a:pt x="46" y="512"/>
                  </a:cubicBezTo>
                  <a:cubicBezTo>
                    <a:pt x="103" y="661"/>
                    <a:pt x="187" y="795"/>
                    <a:pt x="290" y="917"/>
                  </a:cubicBezTo>
                  <a:cubicBezTo>
                    <a:pt x="430" y="1083"/>
                    <a:pt x="596" y="1213"/>
                    <a:pt x="789" y="1308"/>
                  </a:cubicBezTo>
                  <a:cubicBezTo>
                    <a:pt x="877" y="1351"/>
                    <a:pt x="968" y="1383"/>
                    <a:pt x="1066" y="1389"/>
                  </a:cubicBezTo>
                  <a:cubicBezTo>
                    <a:pt x="1134" y="1393"/>
                    <a:pt x="1194" y="1375"/>
                    <a:pt x="1240" y="1322"/>
                  </a:cubicBezTo>
                  <a:cubicBezTo>
                    <a:pt x="1273" y="1287"/>
                    <a:pt x="1309" y="1253"/>
                    <a:pt x="1343" y="1219"/>
                  </a:cubicBezTo>
                  <a:cubicBezTo>
                    <a:pt x="1395" y="1167"/>
                    <a:pt x="1395" y="1105"/>
                    <a:pt x="1345" y="1055"/>
                  </a:cubicBezTo>
                  <a:cubicBezTo>
                    <a:pt x="1283" y="993"/>
                    <a:pt x="1224" y="934"/>
                    <a:pt x="1163" y="87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6" name="Freeform 415">
              <a:extLst>
                <a:ext uri="{FF2B5EF4-FFF2-40B4-BE49-F238E27FC236}">
                  <a16:creationId xmlns:a16="http://schemas.microsoft.com/office/drawing/2014/main" id="{A953F938-1C55-4797-9CFA-E0CDAAE537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8" y="242"/>
              <a:ext cx="104" cy="102"/>
            </a:xfrm>
            <a:custGeom>
              <a:avLst/>
              <a:gdLst>
                <a:gd name="T0" fmla="*/ 0 w 462"/>
                <a:gd name="T1" fmla="*/ 0 h 452"/>
                <a:gd name="T2" fmla="*/ 0 w 462"/>
                <a:gd name="T3" fmla="*/ 0 h 452"/>
                <a:gd name="T4" fmla="*/ 0 w 462"/>
                <a:gd name="T5" fmla="*/ 0 h 452"/>
                <a:gd name="T6" fmla="*/ 0 w 462"/>
                <a:gd name="T7" fmla="*/ 0 h 452"/>
                <a:gd name="T8" fmla="*/ 0 w 462"/>
                <a:gd name="T9" fmla="*/ 0 h 452"/>
                <a:gd name="T10" fmla="*/ 0 w 462"/>
                <a:gd name="T11" fmla="*/ 0 h 452"/>
                <a:gd name="T12" fmla="*/ 0 w 462"/>
                <a:gd name="T13" fmla="*/ 0 h 452"/>
                <a:gd name="T14" fmla="*/ 0 w 462"/>
                <a:gd name="T15" fmla="*/ 0 h 4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62" h="452">
                  <a:moveTo>
                    <a:pt x="344" y="451"/>
                  </a:moveTo>
                  <a:lnTo>
                    <a:pt x="344" y="451"/>
                  </a:lnTo>
                  <a:cubicBezTo>
                    <a:pt x="461" y="432"/>
                    <a:pt x="461" y="432"/>
                    <a:pt x="461" y="432"/>
                  </a:cubicBezTo>
                  <a:cubicBezTo>
                    <a:pt x="442" y="325"/>
                    <a:pt x="391" y="227"/>
                    <a:pt x="314" y="150"/>
                  </a:cubicBezTo>
                  <a:cubicBezTo>
                    <a:pt x="232" y="68"/>
                    <a:pt x="129" y="17"/>
                    <a:pt x="15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87" y="131"/>
                    <a:pt x="167" y="170"/>
                    <a:pt x="230" y="234"/>
                  </a:cubicBezTo>
                  <a:cubicBezTo>
                    <a:pt x="290" y="294"/>
                    <a:pt x="329" y="368"/>
                    <a:pt x="344" y="45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47" name="Freeform 416">
              <a:extLst>
                <a:ext uri="{FF2B5EF4-FFF2-40B4-BE49-F238E27FC236}">
                  <a16:creationId xmlns:a16="http://schemas.microsoft.com/office/drawing/2014/main" id="{EBCE6F3A-3832-40DD-9046-153773B6A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22" y="173"/>
              <a:ext cx="170" cy="166"/>
            </a:xfrm>
            <a:custGeom>
              <a:avLst/>
              <a:gdLst>
                <a:gd name="T0" fmla="*/ 0 w 755"/>
                <a:gd name="T1" fmla="*/ 0 h 737"/>
                <a:gd name="T2" fmla="*/ 0 w 755"/>
                <a:gd name="T3" fmla="*/ 0 h 737"/>
                <a:gd name="T4" fmla="*/ 0 w 755"/>
                <a:gd name="T5" fmla="*/ 0 h 737"/>
                <a:gd name="T6" fmla="*/ 0 w 755"/>
                <a:gd name="T7" fmla="*/ 0 h 737"/>
                <a:gd name="T8" fmla="*/ 0 w 755"/>
                <a:gd name="T9" fmla="*/ 0 h 737"/>
                <a:gd name="T10" fmla="*/ 0 w 755"/>
                <a:gd name="T11" fmla="*/ 0 h 737"/>
                <a:gd name="T12" fmla="*/ 0 w 755"/>
                <a:gd name="T13" fmla="*/ 0 h 737"/>
                <a:gd name="T14" fmla="*/ 0 w 755"/>
                <a:gd name="T15" fmla="*/ 0 h 7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55" h="737">
                  <a:moveTo>
                    <a:pt x="511" y="247"/>
                  </a:moveTo>
                  <a:lnTo>
                    <a:pt x="511" y="247"/>
                  </a:lnTo>
                  <a:cubicBezTo>
                    <a:pt x="376" y="111"/>
                    <a:pt x="205" y="26"/>
                    <a:pt x="16" y="0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163" y="141"/>
                    <a:pt x="311" y="215"/>
                    <a:pt x="428" y="331"/>
                  </a:cubicBezTo>
                  <a:cubicBezTo>
                    <a:pt x="538" y="441"/>
                    <a:pt x="611" y="581"/>
                    <a:pt x="637" y="736"/>
                  </a:cubicBezTo>
                  <a:cubicBezTo>
                    <a:pt x="754" y="716"/>
                    <a:pt x="754" y="716"/>
                    <a:pt x="754" y="716"/>
                  </a:cubicBezTo>
                  <a:cubicBezTo>
                    <a:pt x="724" y="538"/>
                    <a:pt x="640" y="375"/>
                    <a:pt x="511" y="24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48" name="Group 1">
            <a:extLst>
              <a:ext uri="{FF2B5EF4-FFF2-40B4-BE49-F238E27FC236}">
                <a16:creationId xmlns:a16="http://schemas.microsoft.com/office/drawing/2014/main" id="{CB582E1B-B965-4344-9A9F-BA3F6ECA0264}"/>
              </a:ext>
            </a:extLst>
          </p:cNvPr>
          <p:cNvGrpSpPr>
            <a:grpSpLocks/>
          </p:cNvGrpSpPr>
          <p:nvPr/>
        </p:nvGrpSpPr>
        <p:grpSpPr bwMode="auto">
          <a:xfrm>
            <a:off x="2661448" y="5138912"/>
            <a:ext cx="473393" cy="464646"/>
            <a:chOff x="230" y="346"/>
            <a:chExt cx="402" cy="394"/>
          </a:xfrm>
          <a:solidFill>
            <a:schemeClr val="accent1"/>
          </a:solidFill>
        </p:grpSpPr>
        <p:sp>
          <p:nvSpPr>
            <p:cNvPr id="49" name="Freeform 2">
              <a:extLst>
                <a:ext uri="{FF2B5EF4-FFF2-40B4-BE49-F238E27FC236}">
                  <a16:creationId xmlns:a16="http://schemas.microsoft.com/office/drawing/2014/main" id="{BC44DECA-6140-439F-898B-3148CC60FC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" y="643"/>
              <a:ext cx="97" cy="97"/>
            </a:xfrm>
            <a:custGeom>
              <a:avLst/>
              <a:gdLst>
                <a:gd name="T0" fmla="*/ 0 w 432"/>
                <a:gd name="T1" fmla="*/ 0 h 434"/>
                <a:gd name="T2" fmla="*/ 0 w 432"/>
                <a:gd name="T3" fmla="*/ 0 h 434"/>
                <a:gd name="T4" fmla="*/ 0 w 432"/>
                <a:gd name="T5" fmla="*/ 0 h 434"/>
                <a:gd name="T6" fmla="*/ 0 w 432"/>
                <a:gd name="T7" fmla="*/ 0 h 434"/>
                <a:gd name="T8" fmla="*/ 0 w 432"/>
                <a:gd name="T9" fmla="*/ 0 h 434"/>
                <a:gd name="T10" fmla="*/ 0 w 432"/>
                <a:gd name="T11" fmla="*/ 0 h 4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2" h="434">
                  <a:moveTo>
                    <a:pt x="215" y="0"/>
                  </a:moveTo>
                  <a:lnTo>
                    <a:pt x="215" y="0"/>
                  </a:lnTo>
                  <a:cubicBezTo>
                    <a:pt x="334" y="0"/>
                    <a:pt x="431" y="97"/>
                    <a:pt x="431" y="216"/>
                  </a:cubicBezTo>
                  <a:cubicBezTo>
                    <a:pt x="431" y="336"/>
                    <a:pt x="334" y="433"/>
                    <a:pt x="215" y="433"/>
                  </a:cubicBezTo>
                  <a:cubicBezTo>
                    <a:pt x="97" y="433"/>
                    <a:pt x="0" y="336"/>
                    <a:pt x="0" y="216"/>
                  </a:cubicBezTo>
                  <a:cubicBezTo>
                    <a:pt x="0" y="97"/>
                    <a:pt x="97" y="0"/>
                    <a:pt x="215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0" name="Freeform 3">
              <a:extLst>
                <a:ext uri="{FF2B5EF4-FFF2-40B4-BE49-F238E27FC236}">
                  <a16:creationId xmlns:a16="http://schemas.microsoft.com/office/drawing/2014/main" id="{FB8DE239-7C54-4AF6-B0B5-334C4D9CF1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3" y="640"/>
              <a:ext cx="103" cy="100"/>
            </a:xfrm>
            <a:custGeom>
              <a:avLst/>
              <a:gdLst>
                <a:gd name="T0" fmla="*/ 0 w 457"/>
                <a:gd name="T1" fmla="*/ 0 h 447"/>
                <a:gd name="T2" fmla="*/ 0 w 457"/>
                <a:gd name="T3" fmla="*/ 0 h 447"/>
                <a:gd name="T4" fmla="*/ 0 w 457"/>
                <a:gd name="T5" fmla="*/ 0 h 447"/>
                <a:gd name="T6" fmla="*/ 0 w 457"/>
                <a:gd name="T7" fmla="*/ 0 h 447"/>
                <a:gd name="T8" fmla="*/ 0 w 457"/>
                <a:gd name="T9" fmla="*/ 0 h 447"/>
                <a:gd name="T10" fmla="*/ 0 w 457"/>
                <a:gd name="T11" fmla="*/ 0 h 447"/>
                <a:gd name="T12" fmla="*/ 0 w 457"/>
                <a:gd name="T13" fmla="*/ 0 h 447"/>
                <a:gd name="T14" fmla="*/ 0 w 457"/>
                <a:gd name="T15" fmla="*/ 0 h 4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57" h="447">
                  <a:moveTo>
                    <a:pt x="249" y="12"/>
                  </a:moveTo>
                  <a:lnTo>
                    <a:pt x="249" y="12"/>
                  </a:lnTo>
                  <a:cubicBezTo>
                    <a:pt x="130" y="0"/>
                    <a:pt x="22" y="88"/>
                    <a:pt x="11" y="207"/>
                  </a:cubicBezTo>
                  <a:cubicBezTo>
                    <a:pt x="0" y="327"/>
                    <a:pt x="87" y="433"/>
                    <a:pt x="206" y="446"/>
                  </a:cubicBezTo>
                  <a:cubicBezTo>
                    <a:pt x="220" y="446"/>
                    <a:pt x="234" y="446"/>
                    <a:pt x="249" y="446"/>
                  </a:cubicBezTo>
                  <a:cubicBezTo>
                    <a:pt x="369" y="433"/>
                    <a:pt x="456" y="327"/>
                    <a:pt x="444" y="207"/>
                  </a:cubicBezTo>
                  <a:cubicBezTo>
                    <a:pt x="434" y="104"/>
                    <a:pt x="352" y="21"/>
                    <a:pt x="249" y="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1" name="Freeform 4">
              <a:extLst>
                <a:ext uri="{FF2B5EF4-FFF2-40B4-BE49-F238E27FC236}">
                  <a16:creationId xmlns:a16="http://schemas.microsoft.com/office/drawing/2014/main" id="{3061604F-0D58-4AAC-8AA8-935E6FBD91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" y="346"/>
              <a:ext cx="403" cy="273"/>
            </a:xfrm>
            <a:custGeom>
              <a:avLst/>
              <a:gdLst>
                <a:gd name="T0" fmla="*/ 0 w 1782"/>
                <a:gd name="T1" fmla="*/ 0 h 1210"/>
                <a:gd name="T2" fmla="*/ 0 w 1782"/>
                <a:gd name="T3" fmla="*/ 0 h 1210"/>
                <a:gd name="T4" fmla="*/ 0 w 1782"/>
                <a:gd name="T5" fmla="*/ 0 h 1210"/>
                <a:gd name="T6" fmla="*/ 0 w 1782"/>
                <a:gd name="T7" fmla="*/ 0 h 1210"/>
                <a:gd name="T8" fmla="*/ 0 w 1782"/>
                <a:gd name="T9" fmla="*/ 0 h 1210"/>
                <a:gd name="T10" fmla="*/ 0 w 1782"/>
                <a:gd name="T11" fmla="*/ 0 h 1210"/>
                <a:gd name="T12" fmla="*/ 0 w 1782"/>
                <a:gd name="T13" fmla="*/ 0 h 1210"/>
                <a:gd name="T14" fmla="*/ 0 w 1782"/>
                <a:gd name="T15" fmla="*/ 0 h 1210"/>
                <a:gd name="T16" fmla="*/ 0 w 1782"/>
                <a:gd name="T17" fmla="*/ 0 h 1210"/>
                <a:gd name="T18" fmla="*/ 0 w 1782"/>
                <a:gd name="T19" fmla="*/ 0 h 1210"/>
                <a:gd name="T20" fmla="*/ 0 w 1782"/>
                <a:gd name="T21" fmla="*/ 0 h 1210"/>
                <a:gd name="T22" fmla="*/ 0 w 1782"/>
                <a:gd name="T23" fmla="*/ 0 h 1210"/>
                <a:gd name="T24" fmla="*/ 0 w 1782"/>
                <a:gd name="T25" fmla="*/ 0 h 1210"/>
                <a:gd name="T26" fmla="*/ 0 w 1782"/>
                <a:gd name="T27" fmla="*/ 0 h 1210"/>
                <a:gd name="T28" fmla="*/ 0 w 1782"/>
                <a:gd name="T29" fmla="*/ 0 h 1210"/>
                <a:gd name="T30" fmla="*/ 0 w 1782"/>
                <a:gd name="T31" fmla="*/ 0 h 1210"/>
                <a:gd name="T32" fmla="*/ 0 w 1782"/>
                <a:gd name="T33" fmla="*/ 0 h 1210"/>
                <a:gd name="T34" fmla="*/ 0 w 1782"/>
                <a:gd name="T35" fmla="*/ 0 h 1210"/>
                <a:gd name="T36" fmla="*/ 0 w 1782"/>
                <a:gd name="T37" fmla="*/ 0 h 1210"/>
                <a:gd name="T38" fmla="*/ 0 w 1782"/>
                <a:gd name="T39" fmla="*/ 0 h 1210"/>
                <a:gd name="T40" fmla="*/ 0 w 1782"/>
                <a:gd name="T41" fmla="*/ 0 h 1210"/>
                <a:gd name="T42" fmla="*/ 0 w 1782"/>
                <a:gd name="T43" fmla="*/ 0 h 1210"/>
                <a:gd name="T44" fmla="*/ 0 w 1782"/>
                <a:gd name="T45" fmla="*/ 0 h 1210"/>
                <a:gd name="T46" fmla="*/ 0 w 1782"/>
                <a:gd name="T47" fmla="*/ 0 h 1210"/>
                <a:gd name="T48" fmla="*/ 0 w 1782"/>
                <a:gd name="T49" fmla="*/ 0 h 1210"/>
                <a:gd name="T50" fmla="*/ 0 w 1782"/>
                <a:gd name="T51" fmla="*/ 0 h 1210"/>
                <a:gd name="T52" fmla="*/ 0 w 1782"/>
                <a:gd name="T53" fmla="*/ 0 h 121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782" h="1210">
                  <a:moveTo>
                    <a:pt x="1764" y="488"/>
                  </a:moveTo>
                  <a:lnTo>
                    <a:pt x="1764" y="488"/>
                  </a:lnTo>
                  <a:cubicBezTo>
                    <a:pt x="1754" y="472"/>
                    <a:pt x="1735" y="463"/>
                    <a:pt x="1716" y="463"/>
                  </a:cubicBezTo>
                  <a:cubicBezTo>
                    <a:pt x="1477" y="463"/>
                    <a:pt x="1477" y="463"/>
                    <a:pt x="1477" y="463"/>
                  </a:cubicBezTo>
                  <a:cubicBezTo>
                    <a:pt x="1477" y="460"/>
                    <a:pt x="1477" y="460"/>
                    <a:pt x="1477" y="460"/>
                  </a:cubicBezTo>
                  <a:cubicBezTo>
                    <a:pt x="1477" y="206"/>
                    <a:pt x="1272" y="2"/>
                    <a:pt x="1018" y="0"/>
                  </a:cubicBezTo>
                  <a:cubicBezTo>
                    <a:pt x="766" y="0"/>
                    <a:pt x="561" y="206"/>
                    <a:pt x="561" y="460"/>
                  </a:cubicBezTo>
                  <a:cubicBezTo>
                    <a:pt x="561" y="463"/>
                    <a:pt x="561" y="463"/>
                    <a:pt x="561" y="463"/>
                  </a:cubicBezTo>
                  <a:cubicBezTo>
                    <a:pt x="382" y="463"/>
                    <a:pt x="382" y="463"/>
                    <a:pt x="382" y="463"/>
                  </a:cubicBezTo>
                  <a:cubicBezTo>
                    <a:pt x="322" y="187"/>
                    <a:pt x="322" y="187"/>
                    <a:pt x="322" y="187"/>
                  </a:cubicBezTo>
                  <a:cubicBezTo>
                    <a:pt x="316" y="159"/>
                    <a:pt x="290" y="140"/>
                    <a:pt x="262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265"/>
                    <a:pt x="0" y="265"/>
                    <a:pt x="0" y="265"/>
                  </a:cubicBezTo>
                  <a:cubicBezTo>
                    <a:pt x="211" y="265"/>
                    <a:pt x="211" y="265"/>
                    <a:pt x="211" y="265"/>
                  </a:cubicBezTo>
                  <a:cubicBezTo>
                    <a:pt x="406" y="1158"/>
                    <a:pt x="406" y="1158"/>
                    <a:pt x="406" y="1158"/>
                  </a:cubicBezTo>
                  <a:cubicBezTo>
                    <a:pt x="411" y="1188"/>
                    <a:pt x="436" y="1209"/>
                    <a:pt x="466" y="1209"/>
                  </a:cubicBezTo>
                  <a:cubicBezTo>
                    <a:pt x="1561" y="1209"/>
                    <a:pt x="1561" y="1209"/>
                    <a:pt x="1561" y="1209"/>
                  </a:cubicBezTo>
                  <a:cubicBezTo>
                    <a:pt x="1589" y="1209"/>
                    <a:pt x="1615" y="1188"/>
                    <a:pt x="1621" y="1160"/>
                  </a:cubicBezTo>
                  <a:cubicBezTo>
                    <a:pt x="1776" y="541"/>
                    <a:pt x="1776" y="541"/>
                    <a:pt x="1776" y="541"/>
                  </a:cubicBezTo>
                  <a:cubicBezTo>
                    <a:pt x="1781" y="523"/>
                    <a:pt x="1776" y="503"/>
                    <a:pt x="1764" y="488"/>
                  </a:cubicBezTo>
                  <a:close/>
                  <a:moveTo>
                    <a:pt x="1018" y="793"/>
                  </a:moveTo>
                  <a:lnTo>
                    <a:pt x="1018" y="793"/>
                  </a:lnTo>
                  <a:cubicBezTo>
                    <a:pt x="836" y="793"/>
                    <a:pt x="687" y="644"/>
                    <a:pt x="687" y="460"/>
                  </a:cubicBezTo>
                  <a:cubicBezTo>
                    <a:pt x="687" y="276"/>
                    <a:pt x="836" y="127"/>
                    <a:pt x="1018" y="127"/>
                  </a:cubicBezTo>
                  <a:cubicBezTo>
                    <a:pt x="1202" y="127"/>
                    <a:pt x="1351" y="276"/>
                    <a:pt x="1351" y="460"/>
                  </a:cubicBezTo>
                  <a:cubicBezTo>
                    <a:pt x="1350" y="642"/>
                    <a:pt x="1202" y="791"/>
                    <a:pt x="1018" y="79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4E96E038-E70C-4835-8680-660BD2636C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" y="404"/>
              <a:ext cx="115" cy="81"/>
            </a:xfrm>
            <a:custGeom>
              <a:avLst/>
              <a:gdLst>
                <a:gd name="T0" fmla="*/ 0 w 511"/>
                <a:gd name="T1" fmla="*/ 0 h 360"/>
                <a:gd name="T2" fmla="*/ 0 w 511"/>
                <a:gd name="T3" fmla="*/ 0 h 360"/>
                <a:gd name="T4" fmla="*/ 0 w 511"/>
                <a:gd name="T5" fmla="*/ 0 h 360"/>
                <a:gd name="T6" fmla="*/ 0 w 511"/>
                <a:gd name="T7" fmla="*/ 0 h 360"/>
                <a:gd name="T8" fmla="*/ 0 w 511"/>
                <a:gd name="T9" fmla="*/ 0 h 360"/>
                <a:gd name="T10" fmla="*/ 0 w 511"/>
                <a:gd name="T11" fmla="*/ 0 h 360"/>
                <a:gd name="T12" fmla="*/ 0 w 511"/>
                <a:gd name="T13" fmla="*/ 0 h 360"/>
                <a:gd name="T14" fmla="*/ 0 w 511"/>
                <a:gd name="T15" fmla="*/ 0 h 360"/>
                <a:gd name="T16" fmla="*/ 0 w 511"/>
                <a:gd name="T17" fmla="*/ 0 h 360"/>
                <a:gd name="T18" fmla="*/ 0 w 511"/>
                <a:gd name="T19" fmla="*/ 0 h 3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11" h="360">
                  <a:moveTo>
                    <a:pt x="204" y="208"/>
                  </a:moveTo>
                  <a:lnTo>
                    <a:pt x="204" y="208"/>
                  </a:lnTo>
                  <a:cubicBezTo>
                    <a:pt x="91" y="91"/>
                    <a:pt x="91" y="91"/>
                    <a:pt x="91" y="9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158" y="340"/>
                    <a:pt x="158" y="340"/>
                    <a:pt x="158" y="340"/>
                  </a:cubicBezTo>
                  <a:cubicBezTo>
                    <a:pt x="170" y="351"/>
                    <a:pt x="186" y="359"/>
                    <a:pt x="202" y="359"/>
                  </a:cubicBezTo>
                  <a:cubicBezTo>
                    <a:pt x="218" y="359"/>
                    <a:pt x="234" y="354"/>
                    <a:pt x="247" y="341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424" y="0"/>
                    <a:pt x="424" y="0"/>
                    <a:pt x="424" y="0"/>
                  </a:cubicBezTo>
                  <a:lnTo>
                    <a:pt x="204" y="20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sp>
        <p:nvSpPr>
          <p:cNvPr id="53" name="Freeform 341">
            <a:extLst>
              <a:ext uri="{FF2B5EF4-FFF2-40B4-BE49-F238E27FC236}">
                <a16:creationId xmlns:a16="http://schemas.microsoft.com/office/drawing/2014/main" id="{439E2E07-136F-47B3-8D1C-A0CBCBB88C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8588" y="4566447"/>
            <a:ext cx="390370" cy="435000"/>
          </a:xfrm>
          <a:custGeom>
            <a:avLst/>
            <a:gdLst>
              <a:gd name="T0" fmla="*/ 2147483646 w 2467"/>
              <a:gd name="T1" fmla="*/ 2147483646 h 2743"/>
              <a:gd name="T2" fmla="*/ 2147483646 w 2467"/>
              <a:gd name="T3" fmla="*/ 2147483646 h 2743"/>
              <a:gd name="T4" fmla="*/ 2147483646 w 2467"/>
              <a:gd name="T5" fmla="*/ 2147483646 h 2743"/>
              <a:gd name="T6" fmla="*/ 2147483646 w 2467"/>
              <a:gd name="T7" fmla="*/ 0 h 2743"/>
              <a:gd name="T8" fmla="*/ 2147483646 w 2467"/>
              <a:gd name="T9" fmla="*/ 2147483646 h 2743"/>
              <a:gd name="T10" fmla="*/ 2147483646 w 2467"/>
              <a:gd name="T11" fmla="*/ 2147483646 h 2743"/>
              <a:gd name="T12" fmla="*/ 0 w 2467"/>
              <a:gd name="T13" fmla="*/ 2147483646 h 2743"/>
              <a:gd name="T14" fmla="*/ 0 w 2467"/>
              <a:gd name="T15" fmla="*/ 2147483646 h 2743"/>
              <a:gd name="T16" fmla="*/ 2147483646 w 2467"/>
              <a:gd name="T17" fmla="*/ 2147483646 h 2743"/>
              <a:gd name="T18" fmla="*/ 2147483646 w 2467"/>
              <a:gd name="T19" fmla="*/ 2147483646 h 2743"/>
              <a:gd name="T20" fmla="*/ 2147483646 w 2467"/>
              <a:gd name="T21" fmla="*/ 2147483646 h 2743"/>
              <a:gd name="T22" fmla="*/ 2147483646 w 2467"/>
              <a:gd name="T23" fmla="*/ 2147483646 h 2743"/>
              <a:gd name="T24" fmla="*/ 2147483646 w 2467"/>
              <a:gd name="T25" fmla="*/ 2147483646 h 2743"/>
              <a:gd name="T26" fmla="*/ 2147483646 w 2467"/>
              <a:gd name="T27" fmla="*/ 2147483646 h 2743"/>
              <a:gd name="T28" fmla="*/ 2147483646 w 2467"/>
              <a:gd name="T29" fmla="*/ 2147483646 h 2743"/>
              <a:gd name="T30" fmla="*/ 2147483646 w 2467"/>
              <a:gd name="T31" fmla="*/ 2147483646 h 2743"/>
              <a:gd name="T32" fmla="*/ 2147483646 w 2467"/>
              <a:gd name="T33" fmla="*/ 2147483646 h 2743"/>
              <a:gd name="T34" fmla="*/ 2147483646 w 2467"/>
              <a:gd name="T35" fmla="*/ 2147483646 h 2743"/>
              <a:gd name="T36" fmla="*/ 2147483646 w 2467"/>
              <a:gd name="T37" fmla="*/ 2147483646 h 2743"/>
              <a:gd name="T38" fmla="*/ 2147483646 w 2467"/>
              <a:gd name="T39" fmla="*/ 2147483646 h 2743"/>
              <a:gd name="T40" fmla="*/ 2147483646 w 2467"/>
              <a:gd name="T41" fmla="*/ 2147483646 h 2743"/>
              <a:gd name="T42" fmla="*/ 2147483646 w 2467"/>
              <a:gd name="T43" fmla="*/ 2147483646 h 2743"/>
              <a:gd name="T44" fmla="*/ 2147483646 w 2467"/>
              <a:gd name="T45" fmla="*/ 2147483646 h 2743"/>
              <a:gd name="T46" fmla="*/ 2147483646 w 2467"/>
              <a:gd name="T47" fmla="*/ 2147483646 h 2743"/>
              <a:gd name="T48" fmla="*/ 2147483646 w 2467"/>
              <a:gd name="T49" fmla="*/ 2147483646 h 2743"/>
              <a:gd name="T50" fmla="*/ 2147483646 w 2467"/>
              <a:gd name="T51" fmla="*/ 2147483646 h 2743"/>
              <a:gd name="T52" fmla="*/ 2147483646 w 2467"/>
              <a:gd name="T53" fmla="*/ 2147483646 h 2743"/>
              <a:gd name="T54" fmla="*/ 2147483646 w 2467"/>
              <a:gd name="T55" fmla="*/ 2147483646 h 2743"/>
              <a:gd name="T56" fmla="*/ 2147483646 w 2467"/>
              <a:gd name="T57" fmla="*/ 2147483646 h 2743"/>
              <a:gd name="T58" fmla="*/ 2147483646 w 2467"/>
              <a:gd name="T59" fmla="*/ 2147483646 h 2743"/>
              <a:gd name="T60" fmla="*/ 2147483646 w 2467"/>
              <a:gd name="T61" fmla="*/ 2147483646 h 2743"/>
              <a:gd name="T62" fmla="*/ 2147483646 w 2467"/>
              <a:gd name="T63" fmla="*/ 2147483646 h 2743"/>
              <a:gd name="T64" fmla="*/ 2147483646 w 2467"/>
              <a:gd name="T65" fmla="*/ 2147483646 h 2743"/>
              <a:gd name="T66" fmla="*/ 2147483646 w 2467"/>
              <a:gd name="T67" fmla="*/ 2147483646 h 2743"/>
              <a:gd name="T68" fmla="*/ 2147483646 w 2467"/>
              <a:gd name="T69" fmla="*/ 2147483646 h 2743"/>
              <a:gd name="T70" fmla="*/ 2147483646 w 2467"/>
              <a:gd name="T71" fmla="*/ 2147483646 h 2743"/>
              <a:gd name="T72" fmla="*/ 2147483646 w 2467"/>
              <a:gd name="T73" fmla="*/ 2147483646 h 2743"/>
              <a:gd name="T74" fmla="*/ 2147483646 w 2467"/>
              <a:gd name="T75" fmla="*/ 2147483646 h 2743"/>
              <a:gd name="T76" fmla="*/ 2147483646 w 2467"/>
              <a:gd name="T77" fmla="*/ 2147483646 h 2743"/>
              <a:gd name="T78" fmla="*/ 2147483646 w 2467"/>
              <a:gd name="T79" fmla="*/ 2147483646 h 2743"/>
              <a:gd name="T80" fmla="*/ 2147483646 w 2467"/>
              <a:gd name="T81" fmla="*/ 2147483646 h 2743"/>
              <a:gd name="T82" fmla="*/ 2147483646 w 2467"/>
              <a:gd name="T83" fmla="*/ 2147483646 h 2743"/>
              <a:gd name="T84" fmla="*/ 2147483646 w 2467"/>
              <a:gd name="T85" fmla="*/ 2147483646 h 2743"/>
              <a:gd name="T86" fmla="*/ 2147483646 w 2467"/>
              <a:gd name="T87" fmla="*/ 2147483646 h 2743"/>
              <a:gd name="T88" fmla="*/ 2147483646 w 2467"/>
              <a:gd name="T89" fmla="*/ 2147483646 h 2743"/>
              <a:gd name="T90" fmla="*/ 2147483646 w 2467"/>
              <a:gd name="T91" fmla="*/ 2147483646 h 2743"/>
              <a:gd name="T92" fmla="*/ 2147483646 w 2467"/>
              <a:gd name="T93" fmla="*/ 2147483646 h 2743"/>
              <a:gd name="T94" fmla="*/ 2147483646 w 2467"/>
              <a:gd name="T95" fmla="*/ 2147483646 h 2743"/>
              <a:gd name="T96" fmla="*/ 2147483646 w 2467"/>
              <a:gd name="T97" fmla="*/ 2147483646 h 2743"/>
              <a:gd name="T98" fmla="*/ 2147483646 w 2467"/>
              <a:gd name="T99" fmla="*/ 2147483646 h 2743"/>
              <a:gd name="T100" fmla="*/ 2147483646 w 2467"/>
              <a:gd name="T101" fmla="*/ 2147483646 h 2743"/>
              <a:gd name="T102" fmla="*/ 2147483646 w 2467"/>
              <a:gd name="T103" fmla="*/ 2147483646 h 2743"/>
              <a:gd name="T104" fmla="*/ 2147483646 w 2467"/>
              <a:gd name="T105" fmla="*/ 2147483646 h 2743"/>
              <a:gd name="T106" fmla="*/ 2147483646 w 2467"/>
              <a:gd name="T107" fmla="*/ 2147483646 h 2743"/>
              <a:gd name="T108" fmla="*/ 2147483646 w 2467"/>
              <a:gd name="T109" fmla="*/ 2147483646 h 2743"/>
              <a:gd name="T110" fmla="*/ 2147483646 w 2467"/>
              <a:gd name="T111" fmla="*/ 2147483646 h 2743"/>
              <a:gd name="T112" fmla="*/ 2147483646 w 2467"/>
              <a:gd name="T113" fmla="*/ 2147483646 h 2743"/>
              <a:gd name="T114" fmla="*/ 2147483646 w 2467"/>
              <a:gd name="T115" fmla="*/ 2147483646 h 2743"/>
              <a:gd name="T116" fmla="*/ 2147483646 w 2467"/>
              <a:gd name="T117" fmla="*/ 2147483646 h 274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467" h="2743">
                <a:moveTo>
                  <a:pt x="2344" y="550"/>
                </a:moveTo>
                <a:lnTo>
                  <a:pt x="2344" y="550"/>
                </a:lnTo>
                <a:cubicBezTo>
                  <a:pt x="2165" y="550"/>
                  <a:pt x="1997" y="464"/>
                  <a:pt x="1882" y="318"/>
                </a:cubicBezTo>
                <a:cubicBezTo>
                  <a:pt x="1723" y="115"/>
                  <a:pt x="1487" y="0"/>
                  <a:pt x="1233" y="0"/>
                </a:cubicBezTo>
                <a:cubicBezTo>
                  <a:pt x="979" y="0"/>
                  <a:pt x="743" y="115"/>
                  <a:pt x="584" y="318"/>
                </a:cubicBezTo>
                <a:cubicBezTo>
                  <a:pt x="469" y="464"/>
                  <a:pt x="300" y="550"/>
                  <a:pt x="122" y="550"/>
                </a:cubicBezTo>
                <a:cubicBezTo>
                  <a:pt x="54" y="550"/>
                  <a:pt x="0" y="603"/>
                  <a:pt x="0" y="669"/>
                </a:cubicBezTo>
                <a:cubicBezTo>
                  <a:pt x="0" y="686"/>
                  <a:pt x="0" y="686"/>
                  <a:pt x="0" y="686"/>
                </a:cubicBezTo>
                <a:cubicBezTo>
                  <a:pt x="0" y="735"/>
                  <a:pt x="39" y="777"/>
                  <a:pt x="90" y="777"/>
                </a:cubicBezTo>
                <a:cubicBezTo>
                  <a:pt x="90" y="1126"/>
                  <a:pt x="298" y="1425"/>
                  <a:pt x="596" y="1565"/>
                </a:cubicBezTo>
                <a:cubicBezTo>
                  <a:pt x="479" y="2600"/>
                  <a:pt x="479" y="2600"/>
                  <a:pt x="479" y="2600"/>
                </a:cubicBezTo>
                <a:cubicBezTo>
                  <a:pt x="471" y="2634"/>
                  <a:pt x="479" y="2669"/>
                  <a:pt x="498" y="2696"/>
                </a:cubicBezTo>
                <a:cubicBezTo>
                  <a:pt x="520" y="2725"/>
                  <a:pt x="552" y="2742"/>
                  <a:pt x="589" y="2742"/>
                </a:cubicBezTo>
                <a:cubicBezTo>
                  <a:pt x="633" y="2742"/>
                  <a:pt x="633" y="2742"/>
                  <a:pt x="633" y="2742"/>
                </a:cubicBezTo>
                <a:cubicBezTo>
                  <a:pt x="681" y="2742"/>
                  <a:pt x="725" y="2710"/>
                  <a:pt x="740" y="2661"/>
                </a:cubicBezTo>
                <a:cubicBezTo>
                  <a:pt x="799" y="2131"/>
                  <a:pt x="799" y="2131"/>
                  <a:pt x="799" y="2131"/>
                </a:cubicBezTo>
                <a:cubicBezTo>
                  <a:pt x="1233" y="1880"/>
                  <a:pt x="1233" y="1880"/>
                  <a:pt x="1233" y="1880"/>
                </a:cubicBezTo>
                <a:cubicBezTo>
                  <a:pt x="1665" y="2131"/>
                  <a:pt x="1665" y="2131"/>
                  <a:pt x="1665" y="2131"/>
                </a:cubicBezTo>
                <a:cubicBezTo>
                  <a:pt x="1723" y="2654"/>
                  <a:pt x="1723" y="2654"/>
                  <a:pt x="1723" y="2654"/>
                </a:cubicBezTo>
                <a:cubicBezTo>
                  <a:pt x="1726" y="2661"/>
                  <a:pt x="1726" y="2661"/>
                  <a:pt x="1726" y="2661"/>
                </a:cubicBezTo>
                <a:cubicBezTo>
                  <a:pt x="1741" y="2710"/>
                  <a:pt x="1784" y="2742"/>
                  <a:pt x="1833" y="2742"/>
                </a:cubicBezTo>
                <a:cubicBezTo>
                  <a:pt x="1877" y="2742"/>
                  <a:pt x="1877" y="2742"/>
                  <a:pt x="1877" y="2742"/>
                </a:cubicBezTo>
                <a:cubicBezTo>
                  <a:pt x="1914" y="2742"/>
                  <a:pt x="1946" y="2725"/>
                  <a:pt x="1968" y="2696"/>
                </a:cubicBezTo>
                <a:cubicBezTo>
                  <a:pt x="1987" y="2669"/>
                  <a:pt x="1995" y="2634"/>
                  <a:pt x="1987" y="2600"/>
                </a:cubicBezTo>
                <a:cubicBezTo>
                  <a:pt x="1870" y="1565"/>
                  <a:pt x="1870" y="1565"/>
                  <a:pt x="1870" y="1565"/>
                </a:cubicBezTo>
                <a:cubicBezTo>
                  <a:pt x="2168" y="1425"/>
                  <a:pt x="2376" y="1126"/>
                  <a:pt x="2376" y="777"/>
                </a:cubicBezTo>
                <a:cubicBezTo>
                  <a:pt x="2400" y="777"/>
                  <a:pt x="2422" y="767"/>
                  <a:pt x="2439" y="750"/>
                </a:cubicBezTo>
                <a:cubicBezTo>
                  <a:pt x="2456" y="733"/>
                  <a:pt x="2466" y="711"/>
                  <a:pt x="2466" y="686"/>
                </a:cubicBezTo>
                <a:cubicBezTo>
                  <a:pt x="2466" y="669"/>
                  <a:pt x="2466" y="669"/>
                  <a:pt x="2466" y="669"/>
                </a:cubicBezTo>
                <a:cubicBezTo>
                  <a:pt x="2466" y="603"/>
                  <a:pt x="2412" y="550"/>
                  <a:pt x="2344" y="550"/>
                </a:cubicBezTo>
                <a:close/>
                <a:moveTo>
                  <a:pt x="813" y="2017"/>
                </a:moveTo>
                <a:lnTo>
                  <a:pt x="813" y="2017"/>
                </a:lnTo>
                <a:cubicBezTo>
                  <a:pt x="852" y="1660"/>
                  <a:pt x="852" y="1660"/>
                  <a:pt x="852" y="1660"/>
                </a:cubicBezTo>
                <a:cubicBezTo>
                  <a:pt x="1143" y="1826"/>
                  <a:pt x="1143" y="1826"/>
                  <a:pt x="1143" y="1826"/>
                </a:cubicBezTo>
                <a:lnTo>
                  <a:pt x="813" y="2017"/>
                </a:lnTo>
                <a:close/>
                <a:moveTo>
                  <a:pt x="1009" y="1645"/>
                </a:moveTo>
                <a:lnTo>
                  <a:pt x="1009" y="1645"/>
                </a:lnTo>
                <a:cubicBezTo>
                  <a:pt x="1457" y="1645"/>
                  <a:pt x="1457" y="1645"/>
                  <a:pt x="1457" y="1645"/>
                </a:cubicBezTo>
                <a:cubicBezTo>
                  <a:pt x="1233" y="1775"/>
                  <a:pt x="1233" y="1775"/>
                  <a:pt x="1233" y="1775"/>
                </a:cubicBezTo>
                <a:lnTo>
                  <a:pt x="1009" y="1645"/>
                </a:lnTo>
                <a:close/>
                <a:moveTo>
                  <a:pt x="1323" y="1826"/>
                </a:moveTo>
                <a:lnTo>
                  <a:pt x="1323" y="1826"/>
                </a:lnTo>
                <a:cubicBezTo>
                  <a:pt x="1614" y="1660"/>
                  <a:pt x="1614" y="1660"/>
                  <a:pt x="1614" y="1660"/>
                </a:cubicBezTo>
                <a:cubicBezTo>
                  <a:pt x="1653" y="2017"/>
                  <a:pt x="1653" y="2017"/>
                  <a:pt x="1653" y="2017"/>
                </a:cubicBezTo>
                <a:lnTo>
                  <a:pt x="1323" y="1826"/>
                </a:lnTo>
                <a:close/>
                <a:moveTo>
                  <a:pt x="1963" y="1199"/>
                </a:moveTo>
                <a:lnTo>
                  <a:pt x="1963" y="1199"/>
                </a:lnTo>
                <a:cubicBezTo>
                  <a:pt x="1963" y="1270"/>
                  <a:pt x="1907" y="1326"/>
                  <a:pt x="1838" y="1326"/>
                </a:cubicBezTo>
                <a:cubicBezTo>
                  <a:pt x="1828" y="1326"/>
                  <a:pt x="1821" y="1324"/>
                  <a:pt x="1811" y="1321"/>
                </a:cubicBezTo>
                <a:cubicBezTo>
                  <a:pt x="1462" y="1248"/>
                  <a:pt x="1097" y="1248"/>
                  <a:pt x="745" y="1321"/>
                </a:cubicBezTo>
                <a:cubicBezTo>
                  <a:pt x="738" y="1324"/>
                  <a:pt x="728" y="1326"/>
                  <a:pt x="718" y="1326"/>
                </a:cubicBezTo>
                <a:cubicBezTo>
                  <a:pt x="650" y="1326"/>
                  <a:pt x="594" y="1270"/>
                  <a:pt x="594" y="1199"/>
                </a:cubicBezTo>
                <a:cubicBezTo>
                  <a:pt x="594" y="1133"/>
                  <a:pt x="594" y="1133"/>
                  <a:pt x="594" y="1133"/>
                </a:cubicBezTo>
                <a:cubicBezTo>
                  <a:pt x="594" y="1075"/>
                  <a:pt x="635" y="1023"/>
                  <a:pt x="694" y="1011"/>
                </a:cubicBezTo>
                <a:cubicBezTo>
                  <a:pt x="725" y="1004"/>
                  <a:pt x="725" y="1004"/>
                  <a:pt x="725" y="1004"/>
                </a:cubicBezTo>
                <a:cubicBezTo>
                  <a:pt x="1089" y="928"/>
                  <a:pt x="1469" y="928"/>
                  <a:pt x="1831" y="1004"/>
                </a:cubicBezTo>
                <a:cubicBezTo>
                  <a:pt x="1865" y="1011"/>
                  <a:pt x="1865" y="1011"/>
                  <a:pt x="1865" y="1011"/>
                </a:cubicBezTo>
                <a:cubicBezTo>
                  <a:pt x="1921" y="1023"/>
                  <a:pt x="1963" y="1075"/>
                  <a:pt x="1963" y="1133"/>
                </a:cubicBezTo>
                <a:lnTo>
                  <a:pt x="1963" y="119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54" name="Group 202">
            <a:extLst>
              <a:ext uri="{FF2B5EF4-FFF2-40B4-BE49-F238E27FC236}">
                <a16:creationId xmlns:a16="http://schemas.microsoft.com/office/drawing/2014/main" id="{929C2784-5FE3-4779-ADAC-D8A9DC09D8B6}"/>
              </a:ext>
            </a:extLst>
          </p:cNvPr>
          <p:cNvGrpSpPr>
            <a:grpSpLocks/>
          </p:cNvGrpSpPr>
          <p:nvPr/>
        </p:nvGrpSpPr>
        <p:grpSpPr bwMode="auto">
          <a:xfrm>
            <a:off x="2874696" y="5835814"/>
            <a:ext cx="503466" cy="260506"/>
            <a:chOff x="1843" y="230"/>
            <a:chExt cx="536" cy="277"/>
          </a:xfrm>
          <a:solidFill>
            <a:schemeClr val="accent1"/>
          </a:solidFill>
        </p:grpSpPr>
        <p:sp>
          <p:nvSpPr>
            <p:cNvPr id="55" name="Freeform 203">
              <a:extLst>
                <a:ext uri="{FF2B5EF4-FFF2-40B4-BE49-F238E27FC236}">
                  <a16:creationId xmlns:a16="http://schemas.microsoft.com/office/drawing/2014/main" id="{6CCC8C6B-4B11-4A12-8F3B-A2B365B8E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4" y="413"/>
              <a:ext cx="15" cy="28"/>
            </a:xfrm>
            <a:custGeom>
              <a:avLst/>
              <a:gdLst>
                <a:gd name="T0" fmla="*/ 0 w 70"/>
                <a:gd name="T1" fmla="*/ 0 h 129"/>
                <a:gd name="T2" fmla="*/ 0 w 70"/>
                <a:gd name="T3" fmla="*/ 0 h 129"/>
                <a:gd name="T4" fmla="*/ 0 w 70"/>
                <a:gd name="T5" fmla="*/ 0 h 129"/>
                <a:gd name="T6" fmla="*/ 0 w 70"/>
                <a:gd name="T7" fmla="*/ 0 h 129"/>
                <a:gd name="T8" fmla="*/ 0 w 70"/>
                <a:gd name="T9" fmla="*/ 0 h 129"/>
                <a:gd name="T10" fmla="*/ 0 w 70"/>
                <a:gd name="T11" fmla="*/ 0 h 129"/>
                <a:gd name="T12" fmla="*/ 0 w 70"/>
                <a:gd name="T13" fmla="*/ 0 h 129"/>
                <a:gd name="T14" fmla="*/ 0 w 70"/>
                <a:gd name="T15" fmla="*/ 0 h 1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0" h="129">
                  <a:moveTo>
                    <a:pt x="33" y="0"/>
                  </a:moveTo>
                  <a:lnTo>
                    <a:pt x="33" y="0"/>
                  </a:lnTo>
                  <a:cubicBezTo>
                    <a:pt x="29" y="19"/>
                    <a:pt x="23" y="42"/>
                    <a:pt x="19" y="61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44" y="42"/>
                    <a:pt x="38" y="19"/>
                    <a:pt x="33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6" name="Freeform 204">
              <a:extLst>
                <a:ext uri="{FF2B5EF4-FFF2-40B4-BE49-F238E27FC236}">
                  <a16:creationId xmlns:a16="http://schemas.microsoft.com/office/drawing/2014/main" id="{E073FF43-BB9A-42C9-A3A1-66F11C97F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58" y="286"/>
              <a:ext cx="30" cy="35"/>
            </a:xfrm>
            <a:custGeom>
              <a:avLst/>
              <a:gdLst>
                <a:gd name="T0" fmla="*/ 0 w 136"/>
                <a:gd name="T1" fmla="*/ 0 h 157"/>
                <a:gd name="T2" fmla="*/ 0 w 136"/>
                <a:gd name="T3" fmla="*/ 0 h 157"/>
                <a:gd name="T4" fmla="*/ 0 w 136"/>
                <a:gd name="T5" fmla="*/ 0 h 157"/>
                <a:gd name="T6" fmla="*/ 0 w 136"/>
                <a:gd name="T7" fmla="*/ 0 h 157"/>
                <a:gd name="T8" fmla="*/ 0 w 136"/>
                <a:gd name="T9" fmla="*/ 0 h 157"/>
                <a:gd name="T10" fmla="*/ 0 w 136"/>
                <a:gd name="T11" fmla="*/ 0 h 157"/>
                <a:gd name="T12" fmla="*/ 0 w 136"/>
                <a:gd name="T13" fmla="*/ 0 h 1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6" h="157">
                  <a:moveTo>
                    <a:pt x="46" y="0"/>
                  </a:moveTo>
                  <a:lnTo>
                    <a:pt x="46" y="0"/>
                  </a:lnTo>
                  <a:cubicBezTo>
                    <a:pt x="23" y="0"/>
                    <a:pt x="6" y="2"/>
                    <a:pt x="0" y="4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8" y="156"/>
                    <a:pt x="21" y="156"/>
                    <a:pt x="38" y="156"/>
                  </a:cubicBezTo>
                  <a:cubicBezTo>
                    <a:pt x="97" y="156"/>
                    <a:pt x="135" y="127"/>
                    <a:pt x="135" y="74"/>
                  </a:cubicBezTo>
                  <a:cubicBezTo>
                    <a:pt x="135" y="27"/>
                    <a:pt x="103" y="0"/>
                    <a:pt x="46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7" name="Freeform 205">
              <a:extLst>
                <a:ext uri="{FF2B5EF4-FFF2-40B4-BE49-F238E27FC236}">
                  <a16:creationId xmlns:a16="http://schemas.microsoft.com/office/drawing/2014/main" id="{92E8232A-D26E-477D-B3B2-695CEDCC8E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5" y="412"/>
              <a:ext cx="19" cy="22"/>
            </a:xfrm>
            <a:custGeom>
              <a:avLst/>
              <a:gdLst>
                <a:gd name="T0" fmla="*/ 0 w 86"/>
                <a:gd name="T1" fmla="*/ 0 h 101"/>
                <a:gd name="T2" fmla="*/ 0 w 86"/>
                <a:gd name="T3" fmla="*/ 0 h 101"/>
                <a:gd name="T4" fmla="*/ 0 w 86"/>
                <a:gd name="T5" fmla="*/ 0 h 101"/>
                <a:gd name="T6" fmla="*/ 0 w 86"/>
                <a:gd name="T7" fmla="*/ 0 h 101"/>
                <a:gd name="T8" fmla="*/ 0 w 86"/>
                <a:gd name="T9" fmla="*/ 0 h 101"/>
                <a:gd name="T10" fmla="*/ 0 w 86"/>
                <a:gd name="T11" fmla="*/ 0 h 101"/>
                <a:gd name="T12" fmla="*/ 0 w 86"/>
                <a:gd name="T13" fmla="*/ 0 h 10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6" h="101">
                  <a:moveTo>
                    <a:pt x="28" y="0"/>
                  </a:moveTo>
                  <a:lnTo>
                    <a:pt x="28" y="0"/>
                  </a:lnTo>
                  <a:cubicBezTo>
                    <a:pt x="15" y="0"/>
                    <a:pt x="4" y="3"/>
                    <a:pt x="0" y="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6" y="98"/>
                    <a:pt x="13" y="100"/>
                    <a:pt x="23" y="100"/>
                  </a:cubicBezTo>
                  <a:cubicBezTo>
                    <a:pt x="61" y="100"/>
                    <a:pt x="85" y="79"/>
                    <a:pt x="85" y="47"/>
                  </a:cubicBezTo>
                  <a:cubicBezTo>
                    <a:pt x="85" y="19"/>
                    <a:pt x="66" y="0"/>
                    <a:pt x="28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58" name="Freeform 206">
              <a:extLst>
                <a:ext uri="{FF2B5EF4-FFF2-40B4-BE49-F238E27FC236}">
                  <a16:creationId xmlns:a16="http://schemas.microsoft.com/office/drawing/2014/main" id="{B73E08EF-B964-4EEB-A05B-C8E087E7D1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3" y="230"/>
              <a:ext cx="536" cy="278"/>
            </a:xfrm>
            <a:custGeom>
              <a:avLst/>
              <a:gdLst>
                <a:gd name="T0" fmla="*/ 0 w 2368"/>
                <a:gd name="T1" fmla="*/ 0 h 1229"/>
                <a:gd name="T2" fmla="*/ 0 w 2368"/>
                <a:gd name="T3" fmla="*/ 0 h 1229"/>
                <a:gd name="T4" fmla="*/ 0 w 2368"/>
                <a:gd name="T5" fmla="*/ 0 h 1229"/>
                <a:gd name="T6" fmla="*/ 0 w 2368"/>
                <a:gd name="T7" fmla="*/ 0 h 1229"/>
                <a:gd name="T8" fmla="*/ 0 w 2368"/>
                <a:gd name="T9" fmla="*/ 0 h 1229"/>
                <a:gd name="T10" fmla="*/ 0 w 2368"/>
                <a:gd name="T11" fmla="*/ 0 h 1229"/>
                <a:gd name="T12" fmla="*/ 0 w 2368"/>
                <a:gd name="T13" fmla="*/ 0 h 1229"/>
                <a:gd name="T14" fmla="*/ 0 w 2368"/>
                <a:gd name="T15" fmla="*/ 0 h 1229"/>
                <a:gd name="T16" fmla="*/ 0 w 2368"/>
                <a:gd name="T17" fmla="*/ 0 h 1229"/>
                <a:gd name="T18" fmla="*/ 0 w 2368"/>
                <a:gd name="T19" fmla="*/ 0 h 1229"/>
                <a:gd name="T20" fmla="*/ 0 w 2368"/>
                <a:gd name="T21" fmla="*/ 0 h 1229"/>
                <a:gd name="T22" fmla="*/ 0 w 2368"/>
                <a:gd name="T23" fmla="*/ 0 h 1229"/>
                <a:gd name="T24" fmla="*/ 0 w 2368"/>
                <a:gd name="T25" fmla="*/ 0 h 1229"/>
                <a:gd name="T26" fmla="*/ 0 w 2368"/>
                <a:gd name="T27" fmla="*/ 0 h 1229"/>
                <a:gd name="T28" fmla="*/ 0 w 2368"/>
                <a:gd name="T29" fmla="*/ 0 h 1229"/>
                <a:gd name="T30" fmla="*/ 0 w 2368"/>
                <a:gd name="T31" fmla="*/ 0 h 1229"/>
                <a:gd name="T32" fmla="*/ 0 w 2368"/>
                <a:gd name="T33" fmla="*/ 0 h 1229"/>
                <a:gd name="T34" fmla="*/ 0 w 2368"/>
                <a:gd name="T35" fmla="*/ 0 h 1229"/>
                <a:gd name="T36" fmla="*/ 0 w 2368"/>
                <a:gd name="T37" fmla="*/ 0 h 1229"/>
                <a:gd name="T38" fmla="*/ 0 w 2368"/>
                <a:gd name="T39" fmla="*/ 0 h 1229"/>
                <a:gd name="T40" fmla="*/ 0 w 2368"/>
                <a:gd name="T41" fmla="*/ 0 h 1229"/>
                <a:gd name="T42" fmla="*/ 0 w 2368"/>
                <a:gd name="T43" fmla="*/ 0 h 1229"/>
                <a:gd name="T44" fmla="*/ 0 w 2368"/>
                <a:gd name="T45" fmla="*/ 0 h 1229"/>
                <a:gd name="T46" fmla="*/ 0 w 2368"/>
                <a:gd name="T47" fmla="*/ 0 h 1229"/>
                <a:gd name="T48" fmla="*/ 0 w 2368"/>
                <a:gd name="T49" fmla="*/ 0 h 1229"/>
                <a:gd name="T50" fmla="*/ 0 w 2368"/>
                <a:gd name="T51" fmla="*/ 0 h 1229"/>
                <a:gd name="T52" fmla="*/ 0 w 2368"/>
                <a:gd name="T53" fmla="*/ 0 h 1229"/>
                <a:gd name="T54" fmla="*/ 0 w 2368"/>
                <a:gd name="T55" fmla="*/ 0 h 1229"/>
                <a:gd name="T56" fmla="*/ 0 w 2368"/>
                <a:gd name="T57" fmla="*/ 0 h 1229"/>
                <a:gd name="T58" fmla="*/ 0 w 2368"/>
                <a:gd name="T59" fmla="*/ 0 h 1229"/>
                <a:gd name="T60" fmla="*/ 0 w 2368"/>
                <a:gd name="T61" fmla="*/ 0 h 1229"/>
                <a:gd name="T62" fmla="*/ 0 w 2368"/>
                <a:gd name="T63" fmla="*/ 0 h 1229"/>
                <a:gd name="T64" fmla="*/ 0 w 2368"/>
                <a:gd name="T65" fmla="*/ 0 h 1229"/>
                <a:gd name="T66" fmla="*/ 0 w 2368"/>
                <a:gd name="T67" fmla="*/ 0 h 1229"/>
                <a:gd name="T68" fmla="*/ 0 w 2368"/>
                <a:gd name="T69" fmla="*/ 0 h 1229"/>
                <a:gd name="T70" fmla="*/ 0 w 2368"/>
                <a:gd name="T71" fmla="*/ 0 h 1229"/>
                <a:gd name="T72" fmla="*/ 0 w 2368"/>
                <a:gd name="T73" fmla="*/ 0 h 1229"/>
                <a:gd name="T74" fmla="*/ 0 w 2368"/>
                <a:gd name="T75" fmla="*/ 0 h 1229"/>
                <a:gd name="T76" fmla="*/ 0 w 2368"/>
                <a:gd name="T77" fmla="*/ 0 h 1229"/>
                <a:gd name="T78" fmla="*/ 0 w 2368"/>
                <a:gd name="T79" fmla="*/ 0 h 1229"/>
                <a:gd name="T80" fmla="*/ 0 w 2368"/>
                <a:gd name="T81" fmla="*/ 0 h 1229"/>
                <a:gd name="T82" fmla="*/ 0 w 2368"/>
                <a:gd name="T83" fmla="*/ 0 h 1229"/>
                <a:gd name="T84" fmla="*/ 0 w 2368"/>
                <a:gd name="T85" fmla="*/ 0 h 1229"/>
                <a:gd name="T86" fmla="*/ 0 w 2368"/>
                <a:gd name="T87" fmla="*/ 0 h 1229"/>
                <a:gd name="T88" fmla="*/ 0 w 2368"/>
                <a:gd name="T89" fmla="*/ 0 h 122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368" h="1229">
                  <a:moveTo>
                    <a:pt x="2200" y="471"/>
                  </a:moveTo>
                  <a:lnTo>
                    <a:pt x="2200" y="471"/>
                  </a:lnTo>
                  <a:cubicBezTo>
                    <a:pt x="2367" y="302"/>
                    <a:pt x="2367" y="302"/>
                    <a:pt x="2367" y="302"/>
                  </a:cubicBezTo>
                  <a:cubicBezTo>
                    <a:pt x="2200" y="135"/>
                    <a:pt x="2200" y="135"/>
                    <a:pt x="2200" y="135"/>
                  </a:cubicBezTo>
                  <a:cubicBezTo>
                    <a:pt x="2333" y="0"/>
                    <a:pt x="2333" y="0"/>
                    <a:pt x="2333" y="0"/>
                  </a:cubicBezTo>
                  <a:cubicBezTo>
                    <a:pt x="249" y="0"/>
                    <a:pt x="249" y="0"/>
                    <a:pt x="249" y="0"/>
                  </a:cubicBezTo>
                  <a:cubicBezTo>
                    <a:pt x="249" y="32"/>
                    <a:pt x="249" y="32"/>
                    <a:pt x="249" y="32"/>
                  </a:cubicBezTo>
                  <a:cubicBezTo>
                    <a:pt x="211" y="32"/>
                    <a:pt x="211" y="32"/>
                    <a:pt x="211" y="32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28"/>
                    <a:pt x="0" y="1228"/>
                    <a:pt x="0" y="1228"/>
                  </a:cubicBezTo>
                  <a:cubicBezTo>
                    <a:pt x="2289" y="1228"/>
                    <a:pt x="2289" y="1228"/>
                    <a:pt x="2289" y="1228"/>
                  </a:cubicBezTo>
                  <a:cubicBezTo>
                    <a:pt x="2200" y="1139"/>
                    <a:pt x="2200" y="1139"/>
                    <a:pt x="2200" y="1139"/>
                  </a:cubicBezTo>
                  <a:cubicBezTo>
                    <a:pt x="2367" y="972"/>
                    <a:pt x="2367" y="972"/>
                    <a:pt x="2367" y="972"/>
                  </a:cubicBezTo>
                  <a:cubicBezTo>
                    <a:pt x="2200" y="804"/>
                    <a:pt x="2200" y="804"/>
                    <a:pt x="2200" y="804"/>
                  </a:cubicBezTo>
                  <a:cubicBezTo>
                    <a:pt x="2367" y="637"/>
                    <a:pt x="2367" y="637"/>
                    <a:pt x="2367" y="637"/>
                  </a:cubicBezTo>
                  <a:lnTo>
                    <a:pt x="2200" y="471"/>
                  </a:lnTo>
                  <a:close/>
                  <a:moveTo>
                    <a:pt x="249" y="1175"/>
                  </a:moveTo>
                  <a:lnTo>
                    <a:pt x="249" y="1175"/>
                  </a:lnTo>
                  <a:cubicBezTo>
                    <a:pt x="211" y="1175"/>
                    <a:pt x="211" y="1175"/>
                    <a:pt x="211" y="1175"/>
                  </a:cubicBezTo>
                  <a:cubicBezTo>
                    <a:pt x="211" y="1080"/>
                    <a:pt x="211" y="1080"/>
                    <a:pt x="211" y="1080"/>
                  </a:cubicBezTo>
                  <a:cubicBezTo>
                    <a:pt x="249" y="1080"/>
                    <a:pt x="249" y="1080"/>
                    <a:pt x="249" y="1080"/>
                  </a:cubicBezTo>
                  <a:lnTo>
                    <a:pt x="249" y="1175"/>
                  </a:lnTo>
                  <a:close/>
                  <a:moveTo>
                    <a:pt x="249" y="985"/>
                  </a:moveTo>
                  <a:lnTo>
                    <a:pt x="249" y="985"/>
                  </a:lnTo>
                  <a:cubicBezTo>
                    <a:pt x="211" y="985"/>
                    <a:pt x="211" y="985"/>
                    <a:pt x="211" y="985"/>
                  </a:cubicBezTo>
                  <a:cubicBezTo>
                    <a:pt x="211" y="888"/>
                    <a:pt x="211" y="888"/>
                    <a:pt x="211" y="888"/>
                  </a:cubicBezTo>
                  <a:cubicBezTo>
                    <a:pt x="249" y="888"/>
                    <a:pt x="249" y="888"/>
                    <a:pt x="249" y="888"/>
                  </a:cubicBezTo>
                  <a:lnTo>
                    <a:pt x="249" y="985"/>
                  </a:lnTo>
                  <a:close/>
                  <a:moveTo>
                    <a:pt x="249" y="793"/>
                  </a:moveTo>
                  <a:lnTo>
                    <a:pt x="249" y="793"/>
                  </a:lnTo>
                  <a:cubicBezTo>
                    <a:pt x="211" y="793"/>
                    <a:pt x="211" y="793"/>
                    <a:pt x="211" y="793"/>
                  </a:cubicBezTo>
                  <a:cubicBezTo>
                    <a:pt x="211" y="698"/>
                    <a:pt x="211" y="698"/>
                    <a:pt x="211" y="698"/>
                  </a:cubicBezTo>
                  <a:cubicBezTo>
                    <a:pt x="249" y="698"/>
                    <a:pt x="249" y="698"/>
                    <a:pt x="249" y="698"/>
                  </a:cubicBezTo>
                  <a:lnTo>
                    <a:pt x="249" y="793"/>
                  </a:lnTo>
                  <a:close/>
                  <a:moveTo>
                    <a:pt x="249" y="604"/>
                  </a:moveTo>
                  <a:lnTo>
                    <a:pt x="249" y="604"/>
                  </a:lnTo>
                  <a:cubicBezTo>
                    <a:pt x="211" y="604"/>
                    <a:pt x="211" y="604"/>
                    <a:pt x="211" y="604"/>
                  </a:cubicBezTo>
                  <a:cubicBezTo>
                    <a:pt x="211" y="509"/>
                    <a:pt x="211" y="509"/>
                    <a:pt x="211" y="509"/>
                  </a:cubicBezTo>
                  <a:cubicBezTo>
                    <a:pt x="249" y="509"/>
                    <a:pt x="249" y="509"/>
                    <a:pt x="249" y="509"/>
                  </a:cubicBezTo>
                  <a:lnTo>
                    <a:pt x="249" y="604"/>
                  </a:lnTo>
                  <a:close/>
                  <a:moveTo>
                    <a:pt x="249" y="414"/>
                  </a:moveTo>
                  <a:lnTo>
                    <a:pt x="249" y="414"/>
                  </a:lnTo>
                  <a:cubicBezTo>
                    <a:pt x="211" y="414"/>
                    <a:pt x="211" y="414"/>
                    <a:pt x="211" y="414"/>
                  </a:cubicBezTo>
                  <a:cubicBezTo>
                    <a:pt x="211" y="319"/>
                    <a:pt x="211" y="319"/>
                    <a:pt x="211" y="319"/>
                  </a:cubicBezTo>
                  <a:cubicBezTo>
                    <a:pt x="249" y="319"/>
                    <a:pt x="249" y="319"/>
                    <a:pt x="249" y="319"/>
                  </a:cubicBezTo>
                  <a:lnTo>
                    <a:pt x="249" y="414"/>
                  </a:lnTo>
                  <a:close/>
                  <a:moveTo>
                    <a:pt x="249" y="224"/>
                  </a:moveTo>
                  <a:lnTo>
                    <a:pt x="249" y="224"/>
                  </a:lnTo>
                  <a:cubicBezTo>
                    <a:pt x="211" y="224"/>
                    <a:pt x="211" y="224"/>
                    <a:pt x="211" y="224"/>
                  </a:cubicBezTo>
                  <a:cubicBezTo>
                    <a:pt x="211" y="127"/>
                    <a:pt x="211" y="127"/>
                    <a:pt x="211" y="127"/>
                  </a:cubicBezTo>
                  <a:cubicBezTo>
                    <a:pt x="249" y="127"/>
                    <a:pt x="249" y="127"/>
                    <a:pt x="249" y="127"/>
                  </a:cubicBezTo>
                  <a:lnTo>
                    <a:pt x="249" y="224"/>
                  </a:lnTo>
                  <a:close/>
                  <a:moveTo>
                    <a:pt x="1062" y="163"/>
                  </a:moveTo>
                  <a:lnTo>
                    <a:pt x="1062" y="163"/>
                  </a:lnTo>
                  <a:cubicBezTo>
                    <a:pt x="1176" y="163"/>
                    <a:pt x="1176" y="163"/>
                    <a:pt x="1176" y="163"/>
                  </a:cubicBezTo>
                  <a:cubicBezTo>
                    <a:pt x="1176" y="666"/>
                    <a:pt x="1176" y="666"/>
                    <a:pt x="1176" y="666"/>
                  </a:cubicBezTo>
                  <a:cubicBezTo>
                    <a:pt x="1062" y="666"/>
                    <a:pt x="1062" y="666"/>
                    <a:pt x="1062" y="666"/>
                  </a:cubicBezTo>
                  <a:lnTo>
                    <a:pt x="1062" y="163"/>
                  </a:lnTo>
                  <a:close/>
                  <a:moveTo>
                    <a:pt x="667" y="163"/>
                  </a:moveTo>
                  <a:lnTo>
                    <a:pt x="667" y="163"/>
                  </a:lnTo>
                  <a:cubicBezTo>
                    <a:pt x="728" y="376"/>
                    <a:pt x="728" y="376"/>
                    <a:pt x="728" y="376"/>
                  </a:cubicBezTo>
                  <a:cubicBezTo>
                    <a:pt x="745" y="437"/>
                    <a:pt x="762" y="494"/>
                    <a:pt x="772" y="557"/>
                  </a:cubicBezTo>
                  <a:cubicBezTo>
                    <a:pt x="775" y="557"/>
                    <a:pt x="775" y="557"/>
                    <a:pt x="775" y="557"/>
                  </a:cubicBezTo>
                  <a:cubicBezTo>
                    <a:pt x="787" y="496"/>
                    <a:pt x="804" y="435"/>
                    <a:pt x="821" y="378"/>
                  </a:cubicBezTo>
                  <a:cubicBezTo>
                    <a:pt x="886" y="163"/>
                    <a:pt x="886" y="163"/>
                    <a:pt x="886" y="163"/>
                  </a:cubicBezTo>
                  <a:cubicBezTo>
                    <a:pt x="1007" y="163"/>
                    <a:pt x="1007" y="163"/>
                    <a:pt x="1007" y="163"/>
                  </a:cubicBezTo>
                  <a:cubicBezTo>
                    <a:pt x="836" y="666"/>
                    <a:pt x="836" y="666"/>
                    <a:pt x="836" y="666"/>
                  </a:cubicBezTo>
                  <a:cubicBezTo>
                    <a:pt x="703" y="666"/>
                    <a:pt x="703" y="666"/>
                    <a:pt x="703" y="666"/>
                  </a:cubicBezTo>
                  <a:cubicBezTo>
                    <a:pt x="542" y="163"/>
                    <a:pt x="542" y="163"/>
                    <a:pt x="542" y="163"/>
                  </a:cubicBezTo>
                  <a:lnTo>
                    <a:pt x="667" y="163"/>
                  </a:lnTo>
                  <a:close/>
                  <a:moveTo>
                    <a:pt x="694" y="956"/>
                  </a:moveTo>
                  <a:lnTo>
                    <a:pt x="694" y="956"/>
                  </a:lnTo>
                  <a:cubicBezTo>
                    <a:pt x="686" y="956"/>
                    <a:pt x="677" y="953"/>
                    <a:pt x="671" y="953"/>
                  </a:cubicBezTo>
                  <a:cubicBezTo>
                    <a:pt x="671" y="1068"/>
                    <a:pt x="671" y="1068"/>
                    <a:pt x="671" y="1068"/>
                  </a:cubicBezTo>
                  <a:cubicBezTo>
                    <a:pt x="599" y="1068"/>
                    <a:pt x="599" y="1068"/>
                    <a:pt x="599" y="1068"/>
                  </a:cubicBezTo>
                  <a:cubicBezTo>
                    <a:pt x="599" y="753"/>
                    <a:pt x="599" y="753"/>
                    <a:pt x="599" y="753"/>
                  </a:cubicBezTo>
                  <a:cubicBezTo>
                    <a:pt x="620" y="751"/>
                    <a:pt x="652" y="747"/>
                    <a:pt x="696" y="747"/>
                  </a:cubicBezTo>
                  <a:cubicBezTo>
                    <a:pt x="741" y="747"/>
                    <a:pt x="772" y="755"/>
                    <a:pt x="794" y="772"/>
                  </a:cubicBezTo>
                  <a:cubicBezTo>
                    <a:pt x="815" y="789"/>
                    <a:pt x="827" y="814"/>
                    <a:pt x="827" y="846"/>
                  </a:cubicBezTo>
                  <a:cubicBezTo>
                    <a:pt x="827" y="877"/>
                    <a:pt x="817" y="905"/>
                    <a:pt x="798" y="922"/>
                  </a:cubicBezTo>
                  <a:cubicBezTo>
                    <a:pt x="772" y="945"/>
                    <a:pt x="737" y="956"/>
                    <a:pt x="694" y="956"/>
                  </a:cubicBezTo>
                  <a:close/>
                  <a:moveTo>
                    <a:pt x="1034" y="1068"/>
                  </a:moveTo>
                  <a:lnTo>
                    <a:pt x="1034" y="1068"/>
                  </a:lnTo>
                  <a:cubicBezTo>
                    <a:pt x="1009" y="985"/>
                    <a:pt x="1009" y="985"/>
                    <a:pt x="1009" y="985"/>
                  </a:cubicBezTo>
                  <a:cubicBezTo>
                    <a:pt x="918" y="985"/>
                    <a:pt x="918" y="985"/>
                    <a:pt x="918" y="985"/>
                  </a:cubicBezTo>
                  <a:cubicBezTo>
                    <a:pt x="895" y="1068"/>
                    <a:pt x="895" y="1068"/>
                    <a:pt x="895" y="1068"/>
                  </a:cubicBezTo>
                  <a:cubicBezTo>
                    <a:pt x="821" y="1068"/>
                    <a:pt x="821" y="1068"/>
                    <a:pt x="821" y="1068"/>
                  </a:cubicBezTo>
                  <a:cubicBezTo>
                    <a:pt x="918" y="751"/>
                    <a:pt x="918" y="751"/>
                    <a:pt x="918" y="751"/>
                  </a:cubicBezTo>
                  <a:cubicBezTo>
                    <a:pt x="1013" y="751"/>
                    <a:pt x="1013" y="751"/>
                    <a:pt x="1013" y="751"/>
                  </a:cubicBezTo>
                  <a:cubicBezTo>
                    <a:pt x="1110" y="1068"/>
                    <a:pt x="1110" y="1068"/>
                    <a:pt x="1110" y="1068"/>
                  </a:cubicBezTo>
                  <a:lnTo>
                    <a:pt x="1034" y="1068"/>
                  </a:lnTo>
                  <a:close/>
                  <a:moveTo>
                    <a:pt x="1229" y="1072"/>
                  </a:moveTo>
                  <a:lnTo>
                    <a:pt x="1229" y="1072"/>
                  </a:lnTo>
                  <a:cubicBezTo>
                    <a:pt x="1194" y="1072"/>
                    <a:pt x="1159" y="1061"/>
                    <a:pt x="1140" y="1053"/>
                  </a:cubicBezTo>
                  <a:cubicBezTo>
                    <a:pt x="1154" y="994"/>
                    <a:pt x="1154" y="994"/>
                    <a:pt x="1154" y="994"/>
                  </a:cubicBezTo>
                  <a:cubicBezTo>
                    <a:pt x="1173" y="1002"/>
                    <a:pt x="1202" y="1013"/>
                    <a:pt x="1234" y="1013"/>
                  </a:cubicBezTo>
                  <a:cubicBezTo>
                    <a:pt x="1267" y="1013"/>
                    <a:pt x="1284" y="1000"/>
                    <a:pt x="1284" y="979"/>
                  </a:cubicBezTo>
                  <a:cubicBezTo>
                    <a:pt x="1284" y="958"/>
                    <a:pt x="1270" y="947"/>
                    <a:pt x="1231" y="934"/>
                  </a:cubicBezTo>
                  <a:cubicBezTo>
                    <a:pt x="1180" y="915"/>
                    <a:pt x="1144" y="886"/>
                    <a:pt x="1144" y="839"/>
                  </a:cubicBezTo>
                  <a:cubicBezTo>
                    <a:pt x="1144" y="787"/>
                    <a:pt x="1189" y="744"/>
                    <a:pt x="1263" y="744"/>
                  </a:cubicBezTo>
                  <a:cubicBezTo>
                    <a:pt x="1299" y="744"/>
                    <a:pt x="1324" y="753"/>
                    <a:pt x="1343" y="761"/>
                  </a:cubicBezTo>
                  <a:cubicBezTo>
                    <a:pt x="1329" y="818"/>
                    <a:pt x="1329" y="818"/>
                    <a:pt x="1329" y="818"/>
                  </a:cubicBezTo>
                  <a:cubicBezTo>
                    <a:pt x="1316" y="812"/>
                    <a:pt x="1293" y="804"/>
                    <a:pt x="1263" y="804"/>
                  </a:cubicBezTo>
                  <a:cubicBezTo>
                    <a:pt x="1231" y="804"/>
                    <a:pt x="1217" y="818"/>
                    <a:pt x="1217" y="833"/>
                  </a:cubicBezTo>
                  <a:cubicBezTo>
                    <a:pt x="1217" y="854"/>
                    <a:pt x="1234" y="863"/>
                    <a:pt x="1276" y="880"/>
                  </a:cubicBezTo>
                  <a:cubicBezTo>
                    <a:pt x="1331" y="899"/>
                    <a:pt x="1356" y="928"/>
                    <a:pt x="1356" y="972"/>
                  </a:cubicBezTo>
                  <a:cubicBezTo>
                    <a:pt x="1356" y="1025"/>
                    <a:pt x="1316" y="1072"/>
                    <a:pt x="1229" y="1072"/>
                  </a:cubicBezTo>
                  <a:close/>
                  <a:moveTo>
                    <a:pt x="1483" y="1072"/>
                  </a:moveTo>
                  <a:lnTo>
                    <a:pt x="1483" y="1072"/>
                  </a:lnTo>
                  <a:cubicBezTo>
                    <a:pt x="1447" y="1072"/>
                    <a:pt x="1411" y="1061"/>
                    <a:pt x="1394" y="1053"/>
                  </a:cubicBezTo>
                  <a:cubicBezTo>
                    <a:pt x="1409" y="994"/>
                    <a:pt x="1409" y="994"/>
                    <a:pt x="1409" y="994"/>
                  </a:cubicBezTo>
                  <a:cubicBezTo>
                    <a:pt x="1426" y="1002"/>
                    <a:pt x="1457" y="1013"/>
                    <a:pt x="1487" y="1013"/>
                  </a:cubicBezTo>
                  <a:cubicBezTo>
                    <a:pt x="1521" y="1013"/>
                    <a:pt x="1538" y="1000"/>
                    <a:pt x="1538" y="979"/>
                  </a:cubicBezTo>
                  <a:cubicBezTo>
                    <a:pt x="1538" y="958"/>
                    <a:pt x="1523" y="947"/>
                    <a:pt x="1485" y="934"/>
                  </a:cubicBezTo>
                  <a:cubicBezTo>
                    <a:pt x="1432" y="915"/>
                    <a:pt x="1396" y="886"/>
                    <a:pt x="1396" y="839"/>
                  </a:cubicBezTo>
                  <a:cubicBezTo>
                    <a:pt x="1396" y="787"/>
                    <a:pt x="1443" y="744"/>
                    <a:pt x="1516" y="744"/>
                  </a:cubicBezTo>
                  <a:cubicBezTo>
                    <a:pt x="1552" y="744"/>
                    <a:pt x="1580" y="753"/>
                    <a:pt x="1599" y="761"/>
                  </a:cubicBezTo>
                  <a:cubicBezTo>
                    <a:pt x="1582" y="818"/>
                    <a:pt x="1582" y="818"/>
                    <a:pt x="1582" y="818"/>
                  </a:cubicBezTo>
                  <a:cubicBezTo>
                    <a:pt x="1569" y="812"/>
                    <a:pt x="1546" y="804"/>
                    <a:pt x="1516" y="804"/>
                  </a:cubicBezTo>
                  <a:cubicBezTo>
                    <a:pt x="1485" y="804"/>
                    <a:pt x="1470" y="818"/>
                    <a:pt x="1470" y="833"/>
                  </a:cubicBezTo>
                  <a:cubicBezTo>
                    <a:pt x="1470" y="854"/>
                    <a:pt x="1487" y="863"/>
                    <a:pt x="1529" y="880"/>
                  </a:cubicBezTo>
                  <a:cubicBezTo>
                    <a:pt x="1584" y="899"/>
                    <a:pt x="1609" y="928"/>
                    <a:pt x="1609" y="972"/>
                  </a:cubicBezTo>
                  <a:cubicBezTo>
                    <a:pt x="1611" y="1025"/>
                    <a:pt x="1569" y="1072"/>
                    <a:pt x="1483" y="1072"/>
                  </a:cubicBezTo>
                  <a:close/>
                  <a:moveTo>
                    <a:pt x="1590" y="435"/>
                  </a:moveTo>
                  <a:lnTo>
                    <a:pt x="1590" y="435"/>
                  </a:lnTo>
                  <a:cubicBezTo>
                    <a:pt x="1550" y="471"/>
                    <a:pt x="1493" y="490"/>
                    <a:pt x="1426" y="490"/>
                  </a:cubicBezTo>
                  <a:cubicBezTo>
                    <a:pt x="1411" y="490"/>
                    <a:pt x="1398" y="488"/>
                    <a:pt x="1388" y="486"/>
                  </a:cubicBezTo>
                  <a:cubicBezTo>
                    <a:pt x="1388" y="666"/>
                    <a:pt x="1388" y="666"/>
                    <a:pt x="1388" y="666"/>
                  </a:cubicBezTo>
                  <a:cubicBezTo>
                    <a:pt x="1274" y="666"/>
                    <a:pt x="1274" y="666"/>
                    <a:pt x="1274" y="666"/>
                  </a:cubicBezTo>
                  <a:cubicBezTo>
                    <a:pt x="1274" y="169"/>
                    <a:pt x="1274" y="169"/>
                    <a:pt x="1274" y="169"/>
                  </a:cubicBezTo>
                  <a:cubicBezTo>
                    <a:pt x="1310" y="163"/>
                    <a:pt x="1358" y="158"/>
                    <a:pt x="1428" y="158"/>
                  </a:cubicBezTo>
                  <a:cubicBezTo>
                    <a:pt x="1497" y="158"/>
                    <a:pt x="1548" y="171"/>
                    <a:pt x="1582" y="199"/>
                  </a:cubicBezTo>
                  <a:cubicBezTo>
                    <a:pt x="1616" y="224"/>
                    <a:pt x="1637" y="266"/>
                    <a:pt x="1637" y="317"/>
                  </a:cubicBezTo>
                  <a:cubicBezTo>
                    <a:pt x="1637" y="365"/>
                    <a:pt x="1620" y="408"/>
                    <a:pt x="1590" y="43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59" name="Group 128">
            <a:extLst>
              <a:ext uri="{FF2B5EF4-FFF2-40B4-BE49-F238E27FC236}">
                <a16:creationId xmlns:a16="http://schemas.microsoft.com/office/drawing/2014/main" id="{98242490-0AC9-42F8-B337-F76052940FEC}"/>
              </a:ext>
            </a:extLst>
          </p:cNvPr>
          <p:cNvGrpSpPr>
            <a:grpSpLocks/>
          </p:cNvGrpSpPr>
          <p:nvPr/>
        </p:nvGrpSpPr>
        <p:grpSpPr bwMode="auto">
          <a:xfrm>
            <a:off x="2338085" y="4296914"/>
            <a:ext cx="436405" cy="285219"/>
            <a:chOff x="5645" y="241"/>
            <a:chExt cx="423" cy="277"/>
          </a:xfrm>
          <a:solidFill>
            <a:schemeClr val="accent1"/>
          </a:solidFill>
        </p:grpSpPr>
        <p:sp>
          <p:nvSpPr>
            <p:cNvPr id="60" name="Freeform 129">
              <a:extLst>
                <a:ext uri="{FF2B5EF4-FFF2-40B4-BE49-F238E27FC236}">
                  <a16:creationId xmlns:a16="http://schemas.microsoft.com/office/drawing/2014/main" id="{4A8F65F3-DB5B-42B3-AFB4-385AEACAE9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66" y="240"/>
              <a:ext cx="380" cy="138"/>
            </a:xfrm>
            <a:custGeom>
              <a:avLst/>
              <a:gdLst>
                <a:gd name="T0" fmla="*/ 0 w 1680"/>
                <a:gd name="T1" fmla="*/ 0 h 612"/>
                <a:gd name="T2" fmla="*/ 0 w 1680"/>
                <a:gd name="T3" fmla="*/ 0 h 612"/>
                <a:gd name="T4" fmla="*/ 0 w 1680"/>
                <a:gd name="T5" fmla="*/ 0 h 612"/>
                <a:gd name="T6" fmla="*/ 0 w 1680"/>
                <a:gd name="T7" fmla="*/ 0 h 612"/>
                <a:gd name="T8" fmla="*/ 0 w 1680"/>
                <a:gd name="T9" fmla="*/ 0 h 612"/>
                <a:gd name="T10" fmla="*/ 0 w 1680"/>
                <a:gd name="T11" fmla="*/ 0 h 612"/>
                <a:gd name="T12" fmla="*/ 0 w 1680"/>
                <a:gd name="T13" fmla="*/ 0 h 612"/>
                <a:gd name="T14" fmla="*/ 0 w 1680"/>
                <a:gd name="T15" fmla="*/ 0 h 612"/>
                <a:gd name="T16" fmla="*/ 0 w 1680"/>
                <a:gd name="T17" fmla="*/ 0 h 612"/>
                <a:gd name="T18" fmla="*/ 0 w 1680"/>
                <a:gd name="T19" fmla="*/ 0 h 612"/>
                <a:gd name="T20" fmla="*/ 0 w 1680"/>
                <a:gd name="T21" fmla="*/ 0 h 6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680" h="612">
                  <a:moveTo>
                    <a:pt x="1479" y="3"/>
                  </a:moveTo>
                  <a:lnTo>
                    <a:pt x="1479" y="3"/>
                  </a:lnTo>
                  <a:cubicBezTo>
                    <a:pt x="200" y="3"/>
                    <a:pt x="200" y="3"/>
                    <a:pt x="200" y="3"/>
                  </a:cubicBezTo>
                  <a:cubicBezTo>
                    <a:pt x="129" y="0"/>
                    <a:pt x="57" y="23"/>
                    <a:pt x="0" y="68"/>
                  </a:cubicBezTo>
                  <a:cubicBezTo>
                    <a:pt x="74" y="116"/>
                    <a:pt x="74" y="116"/>
                    <a:pt x="74" y="116"/>
                  </a:cubicBezTo>
                  <a:cubicBezTo>
                    <a:pt x="624" y="473"/>
                    <a:pt x="624" y="473"/>
                    <a:pt x="624" y="473"/>
                  </a:cubicBezTo>
                  <a:cubicBezTo>
                    <a:pt x="629" y="475"/>
                    <a:pt x="634" y="476"/>
                    <a:pt x="639" y="481"/>
                  </a:cubicBezTo>
                  <a:cubicBezTo>
                    <a:pt x="839" y="611"/>
                    <a:pt x="839" y="611"/>
                    <a:pt x="839" y="611"/>
                  </a:cubicBezTo>
                  <a:cubicBezTo>
                    <a:pt x="1608" y="116"/>
                    <a:pt x="1608" y="116"/>
                    <a:pt x="1608" y="116"/>
                  </a:cubicBezTo>
                  <a:cubicBezTo>
                    <a:pt x="1679" y="68"/>
                    <a:pt x="1679" y="68"/>
                    <a:pt x="1679" y="68"/>
                  </a:cubicBezTo>
                  <a:cubicBezTo>
                    <a:pt x="1623" y="25"/>
                    <a:pt x="1553" y="1"/>
                    <a:pt x="1479" y="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1" name="Freeform 130">
              <a:extLst>
                <a:ext uri="{FF2B5EF4-FFF2-40B4-BE49-F238E27FC236}">
                  <a16:creationId xmlns:a16="http://schemas.microsoft.com/office/drawing/2014/main" id="{A8983935-6516-4C5F-9024-51F3E507EE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4" y="270"/>
              <a:ext cx="145" cy="224"/>
            </a:xfrm>
            <a:custGeom>
              <a:avLst/>
              <a:gdLst>
                <a:gd name="T0" fmla="*/ 0 w 643"/>
                <a:gd name="T1" fmla="*/ 0 h 992"/>
                <a:gd name="T2" fmla="*/ 0 w 643"/>
                <a:gd name="T3" fmla="*/ 0 h 992"/>
                <a:gd name="T4" fmla="*/ 0 w 643"/>
                <a:gd name="T5" fmla="*/ 0 h 992"/>
                <a:gd name="T6" fmla="*/ 0 w 643"/>
                <a:gd name="T7" fmla="*/ 0 h 992"/>
                <a:gd name="T8" fmla="*/ 0 w 643"/>
                <a:gd name="T9" fmla="*/ 0 h 992"/>
                <a:gd name="T10" fmla="*/ 0 w 643"/>
                <a:gd name="T11" fmla="*/ 0 h 992"/>
                <a:gd name="T12" fmla="*/ 0 w 643"/>
                <a:gd name="T13" fmla="*/ 0 h 992"/>
                <a:gd name="T14" fmla="*/ 0 w 643"/>
                <a:gd name="T15" fmla="*/ 0 h 992"/>
                <a:gd name="T16" fmla="*/ 0 w 643"/>
                <a:gd name="T17" fmla="*/ 0 h 99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3" h="992">
                  <a:moveTo>
                    <a:pt x="114" y="44"/>
                  </a:moveTo>
                  <a:lnTo>
                    <a:pt x="114" y="44"/>
                  </a:lnTo>
                  <a:cubicBezTo>
                    <a:pt x="45" y="0"/>
                    <a:pt x="45" y="0"/>
                    <a:pt x="45" y="0"/>
                  </a:cubicBezTo>
                  <a:cubicBezTo>
                    <a:pt x="17" y="50"/>
                    <a:pt x="2" y="107"/>
                    <a:pt x="2" y="165"/>
                  </a:cubicBezTo>
                  <a:cubicBezTo>
                    <a:pt x="2" y="801"/>
                    <a:pt x="2" y="801"/>
                    <a:pt x="2" y="801"/>
                  </a:cubicBezTo>
                  <a:cubicBezTo>
                    <a:pt x="0" y="869"/>
                    <a:pt x="22" y="936"/>
                    <a:pt x="60" y="991"/>
                  </a:cubicBezTo>
                  <a:cubicBezTo>
                    <a:pt x="117" y="931"/>
                    <a:pt x="117" y="931"/>
                    <a:pt x="117" y="931"/>
                  </a:cubicBezTo>
                  <a:cubicBezTo>
                    <a:pt x="642" y="387"/>
                    <a:pt x="642" y="387"/>
                    <a:pt x="642" y="387"/>
                  </a:cubicBezTo>
                  <a:lnTo>
                    <a:pt x="114" y="4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2" name="Freeform 131">
              <a:extLst>
                <a:ext uri="{FF2B5EF4-FFF2-40B4-BE49-F238E27FC236}">
                  <a16:creationId xmlns:a16="http://schemas.microsoft.com/office/drawing/2014/main" id="{EA4A0E6F-4541-4E3B-B405-0099444A2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71" y="368"/>
              <a:ext cx="370" cy="150"/>
            </a:xfrm>
            <a:custGeom>
              <a:avLst/>
              <a:gdLst>
                <a:gd name="T0" fmla="*/ 0 w 1636"/>
                <a:gd name="T1" fmla="*/ 0 h 667"/>
                <a:gd name="T2" fmla="*/ 0 w 1636"/>
                <a:gd name="T3" fmla="*/ 0 h 667"/>
                <a:gd name="T4" fmla="*/ 0 w 1636"/>
                <a:gd name="T5" fmla="*/ 0 h 667"/>
                <a:gd name="T6" fmla="*/ 0 w 1636"/>
                <a:gd name="T7" fmla="*/ 0 h 667"/>
                <a:gd name="T8" fmla="*/ 0 w 1636"/>
                <a:gd name="T9" fmla="*/ 0 h 667"/>
                <a:gd name="T10" fmla="*/ 0 w 1636"/>
                <a:gd name="T11" fmla="*/ 0 h 667"/>
                <a:gd name="T12" fmla="*/ 0 w 1636"/>
                <a:gd name="T13" fmla="*/ 0 h 667"/>
                <a:gd name="T14" fmla="*/ 0 w 1636"/>
                <a:gd name="T15" fmla="*/ 0 h 667"/>
                <a:gd name="T16" fmla="*/ 0 w 1636"/>
                <a:gd name="T17" fmla="*/ 0 h 667"/>
                <a:gd name="T18" fmla="*/ 0 w 1636"/>
                <a:gd name="T19" fmla="*/ 0 h 667"/>
                <a:gd name="T20" fmla="*/ 0 w 1636"/>
                <a:gd name="T21" fmla="*/ 0 h 667"/>
                <a:gd name="T22" fmla="*/ 0 w 1636"/>
                <a:gd name="T23" fmla="*/ 0 h 667"/>
                <a:gd name="T24" fmla="*/ 0 w 1636"/>
                <a:gd name="T25" fmla="*/ 0 h 667"/>
                <a:gd name="T26" fmla="*/ 0 w 1636"/>
                <a:gd name="T27" fmla="*/ 0 h 667"/>
                <a:gd name="T28" fmla="*/ 0 w 1636"/>
                <a:gd name="T29" fmla="*/ 0 h 667"/>
                <a:gd name="T30" fmla="*/ 0 w 1636"/>
                <a:gd name="T31" fmla="*/ 0 h 667"/>
                <a:gd name="T32" fmla="*/ 0 w 1636"/>
                <a:gd name="T33" fmla="*/ 0 h 6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36" h="667">
                  <a:moveTo>
                    <a:pt x="1579" y="554"/>
                  </a:moveTo>
                  <a:lnTo>
                    <a:pt x="1579" y="554"/>
                  </a:lnTo>
                  <a:cubicBezTo>
                    <a:pt x="1044" y="0"/>
                    <a:pt x="1044" y="0"/>
                    <a:pt x="1044" y="0"/>
                  </a:cubicBezTo>
                  <a:cubicBezTo>
                    <a:pt x="839" y="131"/>
                    <a:pt x="839" y="131"/>
                    <a:pt x="839" y="131"/>
                  </a:cubicBezTo>
                  <a:cubicBezTo>
                    <a:pt x="832" y="134"/>
                    <a:pt x="832" y="134"/>
                    <a:pt x="832" y="134"/>
                  </a:cubicBezTo>
                  <a:cubicBezTo>
                    <a:pt x="829" y="134"/>
                    <a:pt x="829" y="134"/>
                    <a:pt x="829" y="134"/>
                  </a:cubicBezTo>
                  <a:cubicBezTo>
                    <a:pt x="825" y="136"/>
                    <a:pt x="822" y="136"/>
                    <a:pt x="819" y="134"/>
                  </a:cubicBezTo>
                  <a:cubicBezTo>
                    <a:pt x="816" y="136"/>
                    <a:pt x="813" y="136"/>
                    <a:pt x="810" y="134"/>
                  </a:cubicBezTo>
                  <a:cubicBezTo>
                    <a:pt x="806" y="134"/>
                    <a:pt x="806" y="134"/>
                    <a:pt x="806" y="134"/>
                  </a:cubicBezTo>
                  <a:cubicBezTo>
                    <a:pt x="798" y="131"/>
                    <a:pt x="798" y="131"/>
                    <a:pt x="798" y="131"/>
                  </a:cubicBezTo>
                  <a:cubicBezTo>
                    <a:pt x="595" y="2"/>
                    <a:pt x="595" y="2"/>
                    <a:pt x="595" y="2"/>
                  </a:cubicBezTo>
                  <a:cubicBezTo>
                    <a:pt x="56" y="556"/>
                    <a:pt x="56" y="556"/>
                    <a:pt x="56" y="556"/>
                  </a:cubicBezTo>
                  <a:cubicBezTo>
                    <a:pt x="0" y="616"/>
                    <a:pt x="0" y="616"/>
                    <a:pt x="0" y="616"/>
                  </a:cubicBezTo>
                  <a:cubicBezTo>
                    <a:pt x="51" y="649"/>
                    <a:pt x="115" y="666"/>
                    <a:pt x="176" y="664"/>
                  </a:cubicBezTo>
                  <a:cubicBezTo>
                    <a:pt x="1459" y="664"/>
                    <a:pt x="1459" y="664"/>
                    <a:pt x="1459" y="664"/>
                  </a:cubicBezTo>
                  <a:cubicBezTo>
                    <a:pt x="1520" y="664"/>
                    <a:pt x="1582" y="646"/>
                    <a:pt x="1635" y="612"/>
                  </a:cubicBezTo>
                  <a:lnTo>
                    <a:pt x="1579" y="5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63" name="Freeform 132">
              <a:extLst>
                <a:ext uri="{FF2B5EF4-FFF2-40B4-BE49-F238E27FC236}">
                  <a16:creationId xmlns:a16="http://schemas.microsoft.com/office/drawing/2014/main" id="{3700CC97-115F-4EAC-8395-2E7E4FBE2F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4" y="270"/>
              <a:ext cx="145" cy="224"/>
            </a:xfrm>
            <a:custGeom>
              <a:avLst/>
              <a:gdLst>
                <a:gd name="T0" fmla="*/ 0 w 642"/>
                <a:gd name="T1" fmla="*/ 0 h 990"/>
                <a:gd name="T2" fmla="*/ 0 w 642"/>
                <a:gd name="T3" fmla="*/ 0 h 990"/>
                <a:gd name="T4" fmla="*/ 0 w 642"/>
                <a:gd name="T5" fmla="*/ 0 h 990"/>
                <a:gd name="T6" fmla="*/ 0 w 642"/>
                <a:gd name="T7" fmla="*/ 0 h 990"/>
                <a:gd name="T8" fmla="*/ 0 w 642"/>
                <a:gd name="T9" fmla="*/ 0 h 990"/>
                <a:gd name="T10" fmla="*/ 0 w 642"/>
                <a:gd name="T11" fmla="*/ 0 h 990"/>
                <a:gd name="T12" fmla="*/ 0 w 642"/>
                <a:gd name="T13" fmla="*/ 0 h 990"/>
                <a:gd name="T14" fmla="*/ 0 w 642"/>
                <a:gd name="T15" fmla="*/ 0 h 990"/>
                <a:gd name="T16" fmla="*/ 0 w 642"/>
                <a:gd name="T17" fmla="*/ 0 h 9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42" h="990">
                  <a:moveTo>
                    <a:pt x="638" y="801"/>
                  </a:moveTo>
                  <a:lnTo>
                    <a:pt x="638" y="801"/>
                  </a:lnTo>
                  <a:cubicBezTo>
                    <a:pt x="638" y="167"/>
                    <a:pt x="638" y="167"/>
                    <a:pt x="638" y="167"/>
                  </a:cubicBezTo>
                  <a:cubicBezTo>
                    <a:pt x="640" y="109"/>
                    <a:pt x="625" y="50"/>
                    <a:pt x="596" y="0"/>
                  </a:cubicBezTo>
                  <a:cubicBezTo>
                    <a:pt x="528" y="44"/>
                    <a:pt x="528" y="44"/>
                    <a:pt x="528" y="44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523" y="931"/>
                    <a:pt x="523" y="931"/>
                    <a:pt x="523" y="931"/>
                  </a:cubicBezTo>
                  <a:cubicBezTo>
                    <a:pt x="581" y="989"/>
                    <a:pt x="581" y="989"/>
                    <a:pt x="581" y="989"/>
                  </a:cubicBezTo>
                  <a:cubicBezTo>
                    <a:pt x="621" y="936"/>
                    <a:pt x="641" y="869"/>
                    <a:pt x="638" y="80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  <p:grpSp>
        <p:nvGrpSpPr>
          <p:cNvPr id="64" name="Presen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23F420A-AC03-47F3-BB18-856571DB34F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120903" y="4828038"/>
            <a:ext cx="407138" cy="407907"/>
            <a:chOff x="2478" y="795"/>
            <a:chExt cx="2648" cy="2653"/>
          </a:xfrm>
          <a:solidFill>
            <a:schemeClr val="accent1"/>
          </a:solidFill>
        </p:grpSpPr>
        <p:sp>
          <p:nvSpPr>
            <p:cNvPr id="65" name="Freeform 529">
              <a:extLst>
                <a:ext uri="{FF2B5EF4-FFF2-40B4-BE49-F238E27FC236}">
                  <a16:creationId xmlns:a16="http://schemas.microsoft.com/office/drawing/2014/main" id="{64DD25D0-54F5-44E5-AF70-54B805E75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20"/>
              <a:ext cx="794" cy="1328"/>
            </a:xfrm>
            <a:custGeom>
              <a:avLst/>
              <a:gdLst>
                <a:gd name="T0" fmla="*/ 65 w 200"/>
                <a:gd name="T1" fmla="*/ 134 h 334"/>
                <a:gd name="T2" fmla="*/ 51 w 200"/>
                <a:gd name="T3" fmla="*/ 0 h 334"/>
                <a:gd name="T4" fmla="*/ 0 w 200"/>
                <a:gd name="T5" fmla="*/ 0 h 334"/>
                <a:gd name="T6" fmla="*/ 0 w 200"/>
                <a:gd name="T7" fmla="*/ 267 h 334"/>
                <a:gd name="T8" fmla="*/ 67 w 200"/>
                <a:gd name="T9" fmla="*/ 334 h 334"/>
                <a:gd name="T10" fmla="*/ 200 w 200"/>
                <a:gd name="T11" fmla="*/ 334 h 334"/>
                <a:gd name="T12" fmla="*/ 200 w 200"/>
                <a:gd name="T13" fmla="*/ 148 h 334"/>
                <a:gd name="T14" fmla="*/ 140 w 200"/>
                <a:gd name="T15" fmla="*/ 166 h 334"/>
                <a:gd name="T16" fmla="*/ 65 w 200"/>
                <a:gd name="T17" fmla="*/ 1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0" h="334">
                  <a:moveTo>
                    <a:pt x="65" y="134"/>
                  </a:moveTo>
                  <a:cubicBezTo>
                    <a:pt x="28" y="98"/>
                    <a:pt x="24" y="42"/>
                    <a:pt x="51" y="0"/>
                  </a:cubicBezTo>
                  <a:lnTo>
                    <a:pt x="0" y="0"/>
                  </a:lnTo>
                  <a:lnTo>
                    <a:pt x="0" y="267"/>
                  </a:lnTo>
                  <a:cubicBezTo>
                    <a:pt x="0" y="304"/>
                    <a:pt x="30" y="334"/>
                    <a:pt x="67" y="334"/>
                  </a:cubicBezTo>
                  <a:lnTo>
                    <a:pt x="200" y="334"/>
                  </a:lnTo>
                  <a:lnTo>
                    <a:pt x="200" y="148"/>
                  </a:lnTo>
                  <a:cubicBezTo>
                    <a:pt x="182" y="160"/>
                    <a:pt x="161" y="166"/>
                    <a:pt x="140" y="166"/>
                  </a:cubicBezTo>
                  <a:cubicBezTo>
                    <a:pt x="113" y="166"/>
                    <a:pt x="86" y="155"/>
                    <a:pt x="65" y="1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530">
              <a:extLst>
                <a:ext uri="{FF2B5EF4-FFF2-40B4-BE49-F238E27FC236}">
                  <a16:creationId xmlns:a16="http://schemas.microsoft.com/office/drawing/2014/main" id="{0ECB5042-B35D-46FE-BB35-B205ACBD9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" y="2120"/>
              <a:ext cx="480" cy="461"/>
            </a:xfrm>
            <a:custGeom>
              <a:avLst/>
              <a:gdLst>
                <a:gd name="T0" fmla="*/ 103 w 121"/>
                <a:gd name="T1" fmla="*/ 99 h 116"/>
                <a:gd name="T2" fmla="*/ 120 w 121"/>
                <a:gd name="T3" fmla="*/ 1 h 116"/>
                <a:gd name="T4" fmla="*/ 100 w 121"/>
                <a:gd name="T5" fmla="*/ 0 h 116"/>
                <a:gd name="T6" fmla="*/ 22 w 121"/>
                <a:gd name="T7" fmla="*/ 18 h 116"/>
                <a:gd name="T8" fmla="*/ 22 w 121"/>
                <a:gd name="T9" fmla="*/ 99 h 116"/>
                <a:gd name="T10" fmla="*/ 62 w 121"/>
                <a:gd name="T11" fmla="*/ 116 h 116"/>
                <a:gd name="T12" fmla="*/ 103 w 121"/>
                <a:gd name="T13" fmla="*/ 9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16">
                  <a:moveTo>
                    <a:pt x="103" y="99"/>
                  </a:moveTo>
                  <a:cubicBezTo>
                    <a:pt x="121" y="81"/>
                    <a:pt x="121" y="44"/>
                    <a:pt x="120" y="1"/>
                  </a:cubicBezTo>
                  <a:cubicBezTo>
                    <a:pt x="113" y="0"/>
                    <a:pt x="106" y="0"/>
                    <a:pt x="100" y="0"/>
                  </a:cubicBezTo>
                  <a:cubicBezTo>
                    <a:pt x="57" y="0"/>
                    <a:pt x="35" y="6"/>
                    <a:pt x="22" y="18"/>
                  </a:cubicBezTo>
                  <a:cubicBezTo>
                    <a:pt x="0" y="40"/>
                    <a:pt x="0" y="77"/>
                    <a:pt x="22" y="99"/>
                  </a:cubicBezTo>
                  <a:cubicBezTo>
                    <a:pt x="33" y="110"/>
                    <a:pt x="47" y="116"/>
                    <a:pt x="62" y="116"/>
                  </a:cubicBezTo>
                  <a:cubicBezTo>
                    <a:pt x="78" y="116"/>
                    <a:pt x="92" y="110"/>
                    <a:pt x="103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531">
              <a:extLst>
                <a:ext uri="{FF2B5EF4-FFF2-40B4-BE49-F238E27FC236}">
                  <a16:creationId xmlns:a16="http://schemas.microsoft.com/office/drawing/2014/main" id="{A3094142-F5A2-4970-830A-A6CA432B9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1404"/>
              <a:ext cx="476" cy="453"/>
            </a:xfrm>
            <a:custGeom>
              <a:avLst/>
              <a:gdLst>
                <a:gd name="T0" fmla="*/ 50 w 120"/>
                <a:gd name="T1" fmla="*/ 114 h 114"/>
                <a:gd name="T2" fmla="*/ 98 w 120"/>
                <a:gd name="T3" fmla="*/ 97 h 114"/>
                <a:gd name="T4" fmla="*/ 98 w 120"/>
                <a:gd name="T5" fmla="*/ 16 h 114"/>
                <a:gd name="T6" fmla="*/ 58 w 120"/>
                <a:gd name="T7" fmla="*/ 0 h 114"/>
                <a:gd name="T8" fmla="*/ 17 w 120"/>
                <a:gd name="T9" fmla="*/ 16 h 114"/>
                <a:gd name="T10" fmla="*/ 0 w 120"/>
                <a:gd name="T11" fmla="*/ 86 h 114"/>
                <a:gd name="T12" fmla="*/ 0 w 120"/>
                <a:gd name="T13" fmla="*/ 103 h 114"/>
                <a:gd name="T14" fmla="*/ 0 w 120"/>
                <a:gd name="T15" fmla="*/ 114 h 114"/>
                <a:gd name="T16" fmla="*/ 50 w 120"/>
                <a:gd name="T17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" h="114">
                  <a:moveTo>
                    <a:pt x="50" y="114"/>
                  </a:moveTo>
                  <a:cubicBezTo>
                    <a:pt x="74" y="112"/>
                    <a:pt x="89" y="106"/>
                    <a:pt x="98" y="97"/>
                  </a:cubicBezTo>
                  <a:cubicBezTo>
                    <a:pt x="120" y="75"/>
                    <a:pt x="120" y="38"/>
                    <a:pt x="98" y="16"/>
                  </a:cubicBezTo>
                  <a:cubicBezTo>
                    <a:pt x="87" y="5"/>
                    <a:pt x="73" y="0"/>
                    <a:pt x="58" y="0"/>
                  </a:cubicBezTo>
                  <a:cubicBezTo>
                    <a:pt x="43" y="0"/>
                    <a:pt x="28" y="5"/>
                    <a:pt x="17" y="16"/>
                  </a:cubicBezTo>
                  <a:cubicBezTo>
                    <a:pt x="4" y="30"/>
                    <a:pt x="0" y="55"/>
                    <a:pt x="0" y="86"/>
                  </a:cubicBezTo>
                  <a:lnTo>
                    <a:pt x="0" y="103"/>
                  </a:lnTo>
                  <a:cubicBezTo>
                    <a:pt x="0" y="106"/>
                    <a:pt x="0" y="110"/>
                    <a:pt x="0" y="114"/>
                  </a:cubicBezTo>
                  <a:lnTo>
                    <a:pt x="50" y="114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532">
              <a:extLst>
                <a:ext uri="{FF2B5EF4-FFF2-40B4-BE49-F238E27FC236}">
                  <a16:creationId xmlns:a16="http://schemas.microsoft.com/office/drawing/2014/main" id="{8B009F07-7526-4241-B36F-4E75FD0C4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795"/>
              <a:ext cx="794" cy="1062"/>
            </a:xfrm>
            <a:custGeom>
              <a:avLst/>
              <a:gdLst>
                <a:gd name="T0" fmla="*/ 0 w 200"/>
                <a:gd name="T1" fmla="*/ 67 h 267"/>
                <a:gd name="T2" fmla="*/ 0 w 200"/>
                <a:gd name="T3" fmla="*/ 267 h 267"/>
                <a:gd name="T4" fmla="*/ 137 w 200"/>
                <a:gd name="T5" fmla="*/ 267 h 267"/>
                <a:gd name="T6" fmla="*/ 79 w 200"/>
                <a:gd name="T7" fmla="*/ 162 h 267"/>
                <a:gd name="T8" fmla="*/ 101 w 200"/>
                <a:gd name="T9" fmla="*/ 134 h 267"/>
                <a:gd name="T10" fmla="*/ 129 w 200"/>
                <a:gd name="T11" fmla="*/ 157 h 267"/>
                <a:gd name="T12" fmla="*/ 200 w 200"/>
                <a:gd name="T13" fmla="*/ 251 h 267"/>
                <a:gd name="T14" fmla="*/ 200 w 200"/>
                <a:gd name="T15" fmla="*/ 0 h 267"/>
                <a:gd name="T16" fmla="*/ 67 w 200"/>
                <a:gd name="T17" fmla="*/ 0 h 267"/>
                <a:gd name="T18" fmla="*/ 0 w 200"/>
                <a:gd name="T19" fmla="*/ 6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67">
                  <a:moveTo>
                    <a:pt x="0" y="67"/>
                  </a:moveTo>
                  <a:lnTo>
                    <a:pt x="0" y="267"/>
                  </a:lnTo>
                  <a:lnTo>
                    <a:pt x="137" y="267"/>
                  </a:lnTo>
                  <a:cubicBezTo>
                    <a:pt x="111" y="243"/>
                    <a:pt x="84" y="209"/>
                    <a:pt x="79" y="162"/>
                  </a:cubicBezTo>
                  <a:cubicBezTo>
                    <a:pt x="78" y="148"/>
                    <a:pt x="87" y="136"/>
                    <a:pt x="101" y="134"/>
                  </a:cubicBezTo>
                  <a:cubicBezTo>
                    <a:pt x="115" y="133"/>
                    <a:pt x="127" y="143"/>
                    <a:pt x="129" y="157"/>
                  </a:cubicBezTo>
                  <a:cubicBezTo>
                    <a:pt x="134" y="205"/>
                    <a:pt x="175" y="236"/>
                    <a:pt x="200" y="251"/>
                  </a:cubicBezTo>
                  <a:lnTo>
                    <a:pt x="200" y="0"/>
                  </a:lnTo>
                  <a:lnTo>
                    <a:pt x="67" y="0"/>
                  </a:lnTo>
                  <a:cubicBezTo>
                    <a:pt x="30" y="0"/>
                    <a:pt x="0" y="30"/>
                    <a:pt x="0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533">
              <a:extLst>
                <a:ext uri="{FF2B5EF4-FFF2-40B4-BE49-F238E27FC236}">
                  <a16:creationId xmlns:a16="http://schemas.microsoft.com/office/drawing/2014/main" id="{F55F8D67-02BE-416A-982D-BCE20FD39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795"/>
              <a:ext cx="1588" cy="1062"/>
            </a:xfrm>
            <a:custGeom>
              <a:avLst/>
              <a:gdLst>
                <a:gd name="T0" fmla="*/ 333 w 400"/>
                <a:gd name="T1" fmla="*/ 0 h 267"/>
                <a:gd name="T2" fmla="*/ 0 w 400"/>
                <a:gd name="T3" fmla="*/ 0 h 267"/>
                <a:gd name="T4" fmla="*/ 0 w 400"/>
                <a:gd name="T5" fmla="*/ 120 h 267"/>
                <a:gd name="T6" fmla="*/ 58 w 400"/>
                <a:gd name="T7" fmla="*/ 103 h 267"/>
                <a:gd name="T8" fmla="*/ 134 w 400"/>
                <a:gd name="T9" fmla="*/ 134 h 267"/>
                <a:gd name="T10" fmla="*/ 148 w 400"/>
                <a:gd name="T11" fmla="*/ 267 h 267"/>
                <a:gd name="T12" fmla="*/ 400 w 400"/>
                <a:gd name="T13" fmla="*/ 267 h 267"/>
                <a:gd name="T14" fmla="*/ 400 w 400"/>
                <a:gd name="T15" fmla="*/ 67 h 267"/>
                <a:gd name="T16" fmla="*/ 333 w 400"/>
                <a:gd name="T17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0" h="267">
                  <a:moveTo>
                    <a:pt x="333" y="0"/>
                  </a:moveTo>
                  <a:lnTo>
                    <a:pt x="0" y="0"/>
                  </a:lnTo>
                  <a:lnTo>
                    <a:pt x="0" y="120"/>
                  </a:lnTo>
                  <a:cubicBezTo>
                    <a:pt x="17" y="108"/>
                    <a:pt x="38" y="103"/>
                    <a:pt x="58" y="103"/>
                  </a:cubicBezTo>
                  <a:cubicBezTo>
                    <a:pt x="85" y="103"/>
                    <a:pt x="113" y="113"/>
                    <a:pt x="134" y="134"/>
                  </a:cubicBezTo>
                  <a:cubicBezTo>
                    <a:pt x="170" y="170"/>
                    <a:pt x="174" y="225"/>
                    <a:pt x="148" y="267"/>
                  </a:cubicBezTo>
                  <a:lnTo>
                    <a:pt x="400" y="267"/>
                  </a:lnTo>
                  <a:lnTo>
                    <a:pt x="400" y="67"/>
                  </a:lnTo>
                  <a:cubicBezTo>
                    <a:pt x="400" y="30"/>
                    <a:pt x="370" y="0"/>
                    <a:pt x="33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534">
              <a:extLst>
                <a:ext uri="{FF2B5EF4-FFF2-40B4-BE49-F238E27FC236}">
                  <a16:creationId xmlns:a16="http://schemas.microsoft.com/office/drawing/2014/main" id="{C7DD1501-F9FC-48BD-A436-132D99163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" y="2120"/>
              <a:ext cx="1588" cy="1328"/>
            </a:xfrm>
            <a:custGeom>
              <a:avLst/>
              <a:gdLst>
                <a:gd name="T0" fmla="*/ 115 w 400"/>
                <a:gd name="T1" fmla="*/ 135 h 334"/>
                <a:gd name="T2" fmla="*/ 90 w 400"/>
                <a:gd name="T3" fmla="*/ 160 h 334"/>
                <a:gd name="T4" fmla="*/ 65 w 400"/>
                <a:gd name="T5" fmla="*/ 135 h 334"/>
                <a:gd name="T6" fmla="*/ 0 w 400"/>
                <a:gd name="T7" fmla="*/ 30 h 334"/>
                <a:gd name="T8" fmla="*/ 0 w 400"/>
                <a:gd name="T9" fmla="*/ 334 h 334"/>
                <a:gd name="T10" fmla="*/ 333 w 400"/>
                <a:gd name="T11" fmla="*/ 334 h 334"/>
                <a:gd name="T12" fmla="*/ 400 w 400"/>
                <a:gd name="T13" fmla="*/ 267 h 334"/>
                <a:gd name="T14" fmla="*/ 400 w 400"/>
                <a:gd name="T15" fmla="*/ 0 h 334"/>
                <a:gd name="T16" fmla="*/ 43 w 400"/>
                <a:gd name="T17" fmla="*/ 0 h 334"/>
                <a:gd name="T18" fmla="*/ 115 w 400"/>
                <a:gd name="T19" fmla="*/ 135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0" h="334">
                  <a:moveTo>
                    <a:pt x="115" y="135"/>
                  </a:moveTo>
                  <a:cubicBezTo>
                    <a:pt x="115" y="149"/>
                    <a:pt x="104" y="160"/>
                    <a:pt x="90" y="160"/>
                  </a:cubicBezTo>
                  <a:cubicBezTo>
                    <a:pt x="76" y="160"/>
                    <a:pt x="65" y="149"/>
                    <a:pt x="65" y="135"/>
                  </a:cubicBezTo>
                  <a:cubicBezTo>
                    <a:pt x="65" y="83"/>
                    <a:pt x="21" y="46"/>
                    <a:pt x="0" y="30"/>
                  </a:cubicBezTo>
                  <a:lnTo>
                    <a:pt x="0" y="334"/>
                  </a:lnTo>
                  <a:lnTo>
                    <a:pt x="333" y="334"/>
                  </a:lnTo>
                  <a:cubicBezTo>
                    <a:pt x="370" y="334"/>
                    <a:pt x="400" y="304"/>
                    <a:pt x="400" y="267"/>
                  </a:cubicBezTo>
                  <a:lnTo>
                    <a:pt x="400" y="0"/>
                  </a:lnTo>
                  <a:lnTo>
                    <a:pt x="43" y="0"/>
                  </a:lnTo>
                  <a:cubicBezTo>
                    <a:pt x="73" y="25"/>
                    <a:pt x="115" y="71"/>
                    <a:pt x="115" y="1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1" name="Credit_car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26D0279-5580-4F8D-91BE-5F8547F8F28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210263" y="4970947"/>
            <a:ext cx="481747" cy="337114"/>
            <a:chOff x="2478" y="1261"/>
            <a:chExt cx="2648" cy="1853"/>
          </a:xfrm>
          <a:solidFill>
            <a:schemeClr val="accent1"/>
          </a:solidFill>
        </p:grpSpPr>
        <p:sp>
          <p:nvSpPr>
            <p:cNvPr id="72" name="Freeform 349">
              <a:extLst>
                <a:ext uri="{FF2B5EF4-FFF2-40B4-BE49-F238E27FC236}">
                  <a16:creationId xmlns:a16="http://schemas.microsoft.com/office/drawing/2014/main" id="{C4F82D85-EBCD-43FB-BDB1-06F45B5F95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2056"/>
              <a:ext cx="2648" cy="1058"/>
            </a:xfrm>
            <a:custGeom>
              <a:avLst/>
              <a:gdLst>
                <a:gd name="T0" fmla="*/ 300 w 667"/>
                <a:gd name="T1" fmla="*/ 133 h 266"/>
                <a:gd name="T2" fmla="*/ 333 w 667"/>
                <a:gd name="T3" fmla="*/ 166 h 266"/>
                <a:gd name="T4" fmla="*/ 300 w 667"/>
                <a:gd name="T5" fmla="*/ 200 h 266"/>
                <a:gd name="T6" fmla="*/ 267 w 667"/>
                <a:gd name="T7" fmla="*/ 166 h 266"/>
                <a:gd name="T8" fmla="*/ 300 w 667"/>
                <a:gd name="T9" fmla="*/ 133 h 266"/>
                <a:gd name="T10" fmla="*/ 433 w 667"/>
                <a:gd name="T11" fmla="*/ 133 h 266"/>
                <a:gd name="T12" fmla="*/ 467 w 667"/>
                <a:gd name="T13" fmla="*/ 166 h 266"/>
                <a:gd name="T14" fmla="*/ 433 w 667"/>
                <a:gd name="T15" fmla="*/ 200 h 266"/>
                <a:gd name="T16" fmla="*/ 400 w 667"/>
                <a:gd name="T17" fmla="*/ 166 h 266"/>
                <a:gd name="T18" fmla="*/ 433 w 667"/>
                <a:gd name="T19" fmla="*/ 133 h 266"/>
                <a:gd name="T20" fmla="*/ 567 w 667"/>
                <a:gd name="T21" fmla="*/ 133 h 266"/>
                <a:gd name="T22" fmla="*/ 600 w 667"/>
                <a:gd name="T23" fmla="*/ 166 h 266"/>
                <a:gd name="T24" fmla="*/ 567 w 667"/>
                <a:gd name="T25" fmla="*/ 200 h 266"/>
                <a:gd name="T26" fmla="*/ 533 w 667"/>
                <a:gd name="T27" fmla="*/ 166 h 266"/>
                <a:gd name="T28" fmla="*/ 567 w 667"/>
                <a:gd name="T29" fmla="*/ 133 h 266"/>
                <a:gd name="T30" fmla="*/ 0 w 667"/>
                <a:gd name="T31" fmla="*/ 200 h 266"/>
                <a:gd name="T32" fmla="*/ 67 w 667"/>
                <a:gd name="T33" fmla="*/ 266 h 266"/>
                <a:gd name="T34" fmla="*/ 600 w 667"/>
                <a:gd name="T35" fmla="*/ 266 h 266"/>
                <a:gd name="T36" fmla="*/ 667 w 667"/>
                <a:gd name="T37" fmla="*/ 200 h 266"/>
                <a:gd name="T38" fmla="*/ 667 w 667"/>
                <a:gd name="T39" fmla="*/ 0 h 266"/>
                <a:gd name="T40" fmla="*/ 0 w 667"/>
                <a:gd name="T41" fmla="*/ 0 h 266"/>
                <a:gd name="T42" fmla="*/ 0 w 667"/>
                <a:gd name="T43" fmla="*/ 20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67" h="266">
                  <a:moveTo>
                    <a:pt x="300" y="133"/>
                  </a:moveTo>
                  <a:cubicBezTo>
                    <a:pt x="318" y="133"/>
                    <a:pt x="333" y="148"/>
                    <a:pt x="333" y="166"/>
                  </a:cubicBezTo>
                  <a:cubicBezTo>
                    <a:pt x="333" y="185"/>
                    <a:pt x="318" y="200"/>
                    <a:pt x="300" y="200"/>
                  </a:cubicBezTo>
                  <a:cubicBezTo>
                    <a:pt x="282" y="200"/>
                    <a:pt x="267" y="185"/>
                    <a:pt x="267" y="166"/>
                  </a:cubicBezTo>
                  <a:cubicBezTo>
                    <a:pt x="267" y="148"/>
                    <a:pt x="282" y="133"/>
                    <a:pt x="300" y="133"/>
                  </a:cubicBezTo>
                  <a:close/>
                  <a:moveTo>
                    <a:pt x="433" y="133"/>
                  </a:moveTo>
                  <a:cubicBezTo>
                    <a:pt x="452" y="133"/>
                    <a:pt x="467" y="148"/>
                    <a:pt x="467" y="166"/>
                  </a:cubicBezTo>
                  <a:cubicBezTo>
                    <a:pt x="467" y="185"/>
                    <a:pt x="452" y="200"/>
                    <a:pt x="433" y="200"/>
                  </a:cubicBezTo>
                  <a:cubicBezTo>
                    <a:pt x="415" y="200"/>
                    <a:pt x="400" y="185"/>
                    <a:pt x="400" y="166"/>
                  </a:cubicBezTo>
                  <a:cubicBezTo>
                    <a:pt x="400" y="148"/>
                    <a:pt x="415" y="133"/>
                    <a:pt x="433" y="133"/>
                  </a:cubicBezTo>
                  <a:close/>
                  <a:moveTo>
                    <a:pt x="567" y="133"/>
                  </a:moveTo>
                  <a:cubicBezTo>
                    <a:pt x="585" y="133"/>
                    <a:pt x="600" y="148"/>
                    <a:pt x="600" y="166"/>
                  </a:cubicBezTo>
                  <a:cubicBezTo>
                    <a:pt x="600" y="185"/>
                    <a:pt x="585" y="200"/>
                    <a:pt x="567" y="200"/>
                  </a:cubicBezTo>
                  <a:cubicBezTo>
                    <a:pt x="548" y="200"/>
                    <a:pt x="533" y="185"/>
                    <a:pt x="533" y="166"/>
                  </a:cubicBezTo>
                  <a:cubicBezTo>
                    <a:pt x="533" y="148"/>
                    <a:pt x="548" y="133"/>
                    <a:pt x="567" y="133"/>
                  </a:cubicBezTo>
                  <a:close/>
                  <a:moveTo>
                    <a:pt x="0" y="200"/>
                  </a:moveTo>
                  <a:cubicBezTo>
                    <a:pt x="0" y="236"/>
                    <a:pt x="30" y="266"/>
                    <a:pt x="67" y="266"/>
                  </a:cubicBezTo>
                  <a:lnTo>
                    <a:pt x="600" y="266"/>
                  </a:lnTo>
                  <a:cubicBezTo>
                    <a:pt x="637" y="266"/>
                    <a:pt x="667" y="236"/>
                    <a:pt x="667" y="200"/>
                  </a:cubicBezTo>
                  <a:lnTo>
                    <a:pt x="667" y="0"/>
                  </a:lnTo>
                  <a:lnTo>
                    <a:pt x="0" y="0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350">
              <a:extLst>
                <a:ext uri="{FF2B5EF4-FFF2-40B4-BE49-F238E27FC236}">
                  <a16:creationId xmlns:a16="http://schemas.microsoft.com/office/drawing/2014/main" id="{59ABB7FA-D1A4-4D8C-9721-BEF096FE8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1261"/>
              <a:ext cx="2648" cy="398"/>
            </a:xfrm>
            <a:custGeom>
              <a:avLst/>
              <a:gdLst>
                <a:gd name="T0" fmla="*/ 600 w 667"/>
                <a:gd name="T1" fmla="*/ 0 h 100"/>
                <a:gd name="T2" fmla="*/ 67 w 667"/>
                <a:gd name="T3" fmla="*/ 0 h 100"/>
                <a:gd name="T4" fmla="*/ 0 w 667"/>
                <a:gd name="T5" fmla="*/ 66 h 100"/>
                <a:gd name="T6" fmla="*/ 0 w 667"/>
                <a:gd name="T7" fmla="*/ 100 h 100"/>
                <a:gd name="T8" fmla="*/ 667 w 667"/>
                <a:gd name="T9" fmla="*/ 100 h 100"/>
                <a:gd name="T10" fmla="*/ 667 w 667"/>
                <a:gd name="T11" fmla="*/ 66 h 100"/>
                <a:gd name="T12" fmla="*/ 600 w 667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7" h="100">
                  <a:moveTo>
                    <a:pt x="600" y="0"/>
                  </a:moveTo>
                  <a:lnTo>
                    <a:pt x="67" y="0"/>
                  </a:lnTo>
                  <a:cubicBezTo>
                    <a:pt x="30" y="0"/>
                    <a:pt x="0" y="30"/>
                    <a:pt x="0" y="66"/>
                  </a:cubicBezTo>
                  <a:lnTo>
                    <a:pt x="0" y="100"/>
                  </a:lnTo>
                  <a:lnTo>
                    <a:pt x="667" y="100"/>
                  </a:lnTo>
                  <a:lnTo>
                    <a:pt x="667" y="66"/>
                  </a:lnTo>
                  <a:cubicBezTo>
                    <a:pt x="667" y="30"/>
                    <a:pt x="637" y="0"/>
                    <a:pt x="60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Browser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9A1A49B-9A85-4F15-855E-ED1F96DF4B18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595651" y="3899190"/>
            <a:ext cx="591202" cy="407907"/>
            <a:chOff x="5635625" y="5818188"/>
            <a:chExt cx="885826" cy="611188"/>
          </a:xfrm>
          <a:solidFill>
            <a:schemeClr val="accent1"/>
          </a:solidFill>
        </p:grpSpPr>
        <p:sp>
          <p:nvSpPr>
            <p:cNvPr id="75" name="Freeform 56">
              <a:extLst>
                <a:ext uri="{FF2B5EF4-FFF2-40B4-BE49-F238E27FC236}">
                  <a16:creationId xmlns:a16="http://schemas.microsoft.com/office/drawing/2014/main" id="{F3F76EA7-53DF-4E84-A784-29B70FDA0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5625" y="6338888"/>
              <a:ext cx="725488" cy="90488"/>
            </a:xfrm>
            <a:custGeom>
              <a:avLst/>
              <a:gdLst>
                <a:gd name="T0" fmla="*/ 917 w 1021"/>
                <a:gd name="T1" fmla="*/ 93 h 127"/>
                <a:gd name="T2" fmla="*/ 888 w 1021"/>
                <a:gd name="T3" fmla="*/ 64 h 127"/>
                <a:gd name="T4" fmla="*/ 917 w 1021"/>
                <a:gd name="T5" fmla="*/ 34 h 127"/>
                <a:gd name="T6" fmla="*/ 947 w 1021"/>
                <a:gd name="T7" fmla="*/ 64 h 127"/>
                <a:gd name="T8" fmla="*/ 917 w 1021"/>
                <a:gd name="T9" fmla="*/ 93 h 127"/>
                <a:gd name="T10" fmla="*/ 988 w 1021"/>
                <a:gd name="T11" fmla="*/ 0 h 127"/>
                <a:gd name="T12" fmla="*/ 33 w 1021"/>
                <a:gd name="T13" fmla="*/ 0 h 127"/>
                <a:gd name="T14" fmla="*/ 0 w 1021"/>
                <a:gd name="T15" fmla="*/ 34 h 127"/>
                <a:gd name="T16" fmla="*/ 11 w 1021"/>
                <a:gd name="T17" fmla="*/ 93 h 127"/>
                <a:gd name="T18" fmla="*/ 45 w 1021"/>
                <a:gd name="T19" fmla="*/ 127 h 127"/>
                <a:gd name="T20" fmla="*/ 976 w 1021"/>
                <a:gd name="T21" fmla="*/ 127 h 127"/>
                <a:gd name="T22" fmla="*/ 1010 w 1021"/>
                <a:gd name="T23" fmla="*/ 93 h 127"/>
                <a:gd name="T24" fmla="*/ 1021 w 1021"/>
                <a:gd name="T25" fmla="*/ 34 h 127"/>
                <a:gd name="T26" fmla="*/ 988 w 1021"/>
                <a:gd name="T27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21" h="127">
                  <a:moveTo>
                    <a:pt x="917" y="93"/>
                  </a:moveTo>
                  <a:cubicBezTo>
                    <a:pt x="901" y="93"/>
                    <a:pt x="888" y="80"/>
                    <a:pt x="888" y="64"/>
                  </a:cubicBezTo>
                  <a:cubicBezTo>
                    <a:pt x="888" y="47"/>
                    <a:pt x="901" y="34"/>
                    <a:pt x="917" y="34"/>
                  </a:cubicBezTo>
                  <a:cubicBezTo>
                    <a:pt x="934" y="34"/>
                    <a:pt x="947" y="47"/>
                    <a:pt x="947" y="64"/>
                  </a:cubicBezTo>
                  <a:cubicBezTo>
                    <a:pt x="947" y="80"/>
                    <a:pt x="934" y="93"/>
                    <a:pt x="917" y="93"/>
                  </a:cubicBezTo>
                  <a:close/>
                  <a:moveTo>
                    <a:pt x="988" y="0"/>
                  </a:move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11" y="93"/>
                  </a:lnTo>
                  <a:cubicBezTo>
                    <a:pt x="17" y="112"/>
                    <a:pt x="26" y="127"/>
                    <a:pt x="45" y="127"/>
                  </a:cubicBezTo>
                  <a:lnTo>
                    <a:pt x="976" y="127"/>
                  </a:lnTo>
                  <a:cubicBezTo>
                    <a:pt x="995" y="127"/>
                    <a:pt x="1002" y="115"/>
                    <a:pt x="1010" y="93"/>
                  </a:cubicBezTo>
                  <a:lnTo>
                    <a:pt x="1021" y="34"/>
                  </a:lnTo>
                  <a:cubicBezTo>
                    <a:pt x="1021" y="15"/>
                    <a:pt x="1006" y="0"/>
                    <a:pt x="988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57">
              <a:extLst>
                <a:ext uri="{FF2B5EF4-FFF2-40B4-BE49-F238E27FC236}">
                  <a16:creationId xmlns:a16="http://schemas.microsoft.com/office/drawing/2014/main" id="{4775BEBF-833B-484C-8F44-520001D4B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63" y="5954713"/>
              <a:ext cx="417513" cy="349250"/>
            </a:xfrm>
            <a:custGeom>
              <a:avLst/>
              <a:gdLst>
                <a:gd name="T0" fmla="*/ 52 w 587"/>
                <a:gd name="T1" fmla="*/ 0 h 491"/>
                <a:gd name="T2" fmla="*/ 0 w 587"/>
                <a:gd name="T3" fmla="*/ 51 h 491"/>
                <a:gd name="T4" fmla="*/ 0 w 587"/>
                <a:gd name="T5" fmla="*/ 491 h 491"/>
                <a:gd name="T6" fmla="*/ 53 w 587"/>
                <a:gd name="T7" fmla="*/ 491 h 491"/>
                <a:gd name="T8" fmla="*/ 53 w 587"/>
                <a:gd name="T9" fmla="*/ 52 h 491"/>
                <a:gd name="T10" fmla="*/ 587 w 587"/>
                <a:gd name="T11" fmla="*/ 52 h 491"/>
                <a:gd name="T12" fmla="*/ 586 w 587"/>
                <a:gd name="T13" fmla="*/ 0 h 491"/>
                <a:gd name="T14" fmla="*/ 52 w 587"/>
                <a:gd name="T15" fmla="*/ 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7" h="491">
                  <a:moveTo>
                    <a:pt x="52" y="0"/>
                  </a:moveTo>
                  <a:cubicBezTo>
                    <a:pt x="23" y="0"/>
                    <a:pt x="0" y="23"/>
                    <a:pt x="0" y="51"/>
                  </a:cubicBezTo>
                  <a:lnTo>
                    <a:pt x="0" y="491"/>
                  </a:lnTo>
                  <a:lnTo>
                    <a:pt x="53" y="491"/>
                  </a:lnTo>
                  <a:lnTo>
                    <a:pt x="53" y="52"/>
                  </a:lnTo>
                  <a:lnTo>
                    <a:pt x="587" y="52"/>
                  </a:lnTo>
                  <a:cubicBezTo>
                    <a:pt x="584" y="34"/>
                    <a:pt x="585" y="10"/>
                    <a:pt x="586" y="0"/>
                  </a:cubicBezTo>
                  <a:lnTo>
                    <a:pt x="52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58">
              <a:extLst>
                <a:ext uri="{FF2B5EF4-FFF2-40B4-BE49-F238E27FC236}">
                  <a16:creationId xmlns:a16="http://schemas.microsoft.com/office/drawing/2014/main" id="{72D4E04D-EF3F-43BA-93F9-E29E636CCD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6975" y="6149975"/>
              <a:ext cx="38100" cy="153988"/>
            </a:xfrm>
            <a:custGeom>
              <a:avLst/>
              <a:gdLst>
                <a:gd name="T0" fmla="*/ 0 w 53"/>
                <a:gd name="T1" fmla="*/ 4 h 216"/>
                <a:gd name="T2" fmla="*/ 0 w 53"/>
                <a:gd name="T3" fmla="*/ 216 h 216"/>
                <a:gd name="T4" fmla="*/ 53 w 53"/>
                <a:gd name="T5" fmla="*/ 216 h 216"/>
                <a:gd name="T6" fmla="*/ 53 w 53"/>
                <a:gd name="T7" fmla="*/ 0 h 216"/>
                <a:gd name="T8" fmla="*/ 0 w 53"/>
                <a:gd name="T9" fmla="*/ 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16">
                  <a:moveTo>
                    <a:pt x="0" y="4"/>
                  </a:moveTo>
                  <a:lnTo>
                    <a:pt x="0" y="216"/>
                  </a:lnTo>
                  <a:lnTo>
                    <a:pt x="53" y="216"/>
                  </a:lnTo>
                  <a:lnTo>
                    <a:pt x="53" y="0"/>
                  </a:lnTo>
                  <a:cubicBezTo>
                    <a:pt x="34" y="4"/>
                    <a:pt x="9" y="5"/>
                    <a:pt x="0" y="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59">
              <a:extLst>
                <a:ext uri="{FF2B5EF4-FFF2-40B4-BE49-F238E27FC236}">
                  <a16:creationId xmlns:a16="http://schemas.microsoft.com/office/drawing/2014/main" id="{EE2F2ADE-AF82-4D83-A95F-9B970CA2A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156325"/>
              <a:ext cx="68263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 60">
              <a:extLst>
                <a:ext uri="{FF2B5EF4-FFF2-40B4-BE49-F238E27FC236}">
                  <a16:creationId xmlns:a16="http://schemas.microsoft.com/office/drawing/2014/main" id="{55B9C22A-3552-4F70-87B2-2A7D950C2A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156325"/>
              <a:ext cx="311150" cy="31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61">
              <a:extLst>
                <a:ext uri="{FF2B5EF4-FFF2-40B4-BE49-F238E27FC236}">
                  <a16:creationId xmlns:a16="http://schemas.microsoft.com/office/drawing/2014/main" id="{C806FFC5-8A9A-436F-96F1-DBBA2E9550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81675" y="6040438"/>
              <a:ext cx="382588" cy="69850"/>
            </a:xfrm>
            <a:custGeom>
              <a:avLst/>
              <a:gdLst>
                <a:gd name="T0" fmla="*/ 125 w 539"/>
                <a:gd name="T1" fmla="*/ 67 h 97"/>
                <a:gd name="T2" fmla="*/ 30 w 539"/>
                <a:gd name="T3" fmla="*/ 67 h 97"/>
                <a:gd name="T4" fmla="*/ 30 w 539"/>
                <a:gd name="T5" fmla="*/ 33 h 97"/>
                <a:gd name="T6" fmla="*/ 125 w 539"/>
                <a:gd name="T7" fmla="*/ 33 h 97"/>
                <a:gd name="T8" fmla="*/ 125 w 539"/>
                <a:gd name="T9" fmla="*/ 67 h 97"/>
                <a:gd name="T10" fmla="*/ 484 w 539"/>
                <a:gd name="T11" fmla="*/ 33 h 97"/>
                <a:gd name="T12" fmla="*/ 466 w 539"/>
                <a:gd name="T13" fmla="*/ 0 h 97"/>
                <a:gd name="T14" fmla="*/ 0 w 539"/>
                <a:gd name="T15" fmla="*/ 0 h 97"/>
                <a:gd name="T16" fmla="*/ 0 w 539"/>
                <a:gd name="T17" fmla="*/ 97 h 97"/>
                <a:gd name="T18" fmla="*/ 539 w 539"/>
                <a:gd name="T19" fmla="*/ 97 h 97"/>
                <a:gd name="T20" fmla="*/ 509 w 539"/>
                <a:gd name="T21" fmla="*/ 67 h 97"/>
                <a:gd name="T22" fmla="*/ 173 w 539"/>
                <a:gd name="T23" fmla="*/ 67 h 97"/>
                <a:gd name="T24" fmla="*/ 173 w 539"/>
                <a:gd name="T25" fmla="*/ 33 h 97"/>
                <a:gd name="T26" fmla="*/ 484 w 539"/>
                <a:gd name="T27" fmla="*/ 3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9" h="97">
                  <a:moveTo>
                    <a:pt x="125" y="67"/>
                  </a:moveTo>
                  <a:lnTo>
                    <a:pt x="30" y="67"/>
                  </a:lnTo>
                  <a:lnTo>
                    <a:pt x="30" y="33"/>
                  </a:lnTo>
                  <a:lnTo>
                    <a:pt x="125" y="33"/>
                  </a:lnTo>
                  <a:lnTo>
                    <a:pt x="125" y="67"/>
                  </a:lnTo>
                  <a:close/>
                  <a:moveTo>
                    <a:pt x="484" y="33"/>
                  </a:moveTo>
                  <a:cubicBezTo>
                    <a:pt x="477" y="22"/>
                    <a:pt x="471" y="11"/>
                    <a:pt x="466" y="0"/>
                  </a:cubicBezTo>
                  <a:lnTo>
                    <a:pt x="0" y="0"/>
                  </a:lnTo>
                  <a:lnTo>
                    <a:pt x="0" y="97"/>
                  </a:lnTo>
                  <a:lnTo>
                    <a:pt x="539" y="97"/>
                  </a:lnTo>
                  <a:cubicBezTo>
                    <a:pt x="528" y="88"/>
                    <a:pt x="518" y="78"/>
                    <a:pt x="509" y="67"/>
                  </a:cubicBezTo>
                  <a:lnTo>
                    <a:pt x="173" y="67"/>
                  </a:lnTo>
                  <a:lnTo>
                    <a:pt x="173" y="33"/>
                  </a:lnTo>
                  <a:lnTo>
                    <a:pt x="484" y="33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Rectangle 62">
              <a:extLst>
                <a:ext uri="{FF2B5EF4-FFF2-40B4-BE49-F238E27FC236}">
                  <a16:creationId xmlns:a16="http://schemas.microsoft.com/office/drawing/2014/main" id="{9D61901D-224A-471C-92CD-DE4C261DCB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02313" y="6234113"/>
              <a:ext cx="68263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Rectangle 63">
              <a:extLst>
                <a:ext uri="{FF2B5EF4-FFF2-40B4-BE49-F238E27FC236}">
                  <a16:creationId xmlns:a16="http://schemas.microsoft.com/office/drawing/2014/main" id="{A2C829D8-B25F-4EBD-8FC0-FCDEF761F2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03913" y="6234113"/>
              <a:ext cx="311150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64">
              <a:extLst>
                <a:ext uri="{FF2B5EF4-FFF2-40B4-BE49-F238E27FC236}">
                  <a16:creationId xmlns:a16="http://schemas.microsoft.com/office/drawing/2014/main" id="{AEDBDF6D-56B6-4B7B-BD47-2998E3FD26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2513" y="5818188"/>
              <a:ext cx="388938" cy="388938"/>
            </a:xfrm>
            <a:custGeom>
              <a:avLst/>
              <a:gdLst>
                <a:gd name="T0" fmla="*/ 211 w 547"/>
                <a:gd name="T1" fmla="*/ 365 h 547"/>
                <a:gd name="T2" fmla="*/ 58 w 547"/>
                <a:gd name="T3" fmla="*/ 211 h 547"/>
                <a:gd name="T4" fmla="*/ 211 w 547"/>
                <a:gd name="T5" fmla="*/ 58 h 547"/>
                <a:gd name="T6" fmla="*/ 365 w 547"/>
                <a:gd name="T7" fmla="*/ 211 h 547"/>
                <a:gd name="T8" fmla="*/ 211 w 547"/>
                <a:gd name="T9" fmla="*/ 365 h 547"/>
                <a:gd name="T10" fmla="*/ 396 w 547"/>
                <a:gd name="T11" fmla="*/ 315 h 547"/>
                <a:gd name="T12" fmla="*/ 423 w 547"/>
                <a:gd name="T13" fmla="*/ 211 h 547"/>
                <a:gd name="T14" fmla="*/ 211 w 547"/>
                <a:gd name="T15" fmla="*/ 0 h 547"/>
                <a:gd name="T16" fmla="*/ 0 w 547"/>
                <a:gd name="T17" fmla="*/ 211 h 547"/>
                <a:gd name="T18" fmla="*/ 211 w 547"/>
                <a:gd name="T19" fmla="*/ 423 h 547"/>
                <a:gd name="T20" fmla="*/ 315 w 547"/>
                <a:gd name="T21" fmla="*/ 396 h 547"/>
                <a:gd name="T22" fmla="*/ 418 w 547"/>
                <a:gd name="T23" fmla="*/ 514 h 547"/>
                <a:gd name="T24" fmla="*/ 519 w 547"/>
                <a:gd name="T25" fmla="*/ 517 h 547"/>
                <a:gd name="T26" fmla="*/ 515 w 547"/>
                <a:gd name="T27" fmla="*/ 417 h 547"/>
                <a:gd name="T28" fmla="*/ 396 w 547"/>
                <a:gd name="T29" fmla="*/ 315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7" h="547">
                  <a:moveTo>
                    <a:pt x="211" y="365"/>
                  </a:moveTo>
                  <a:cubicBezTo>
                    <a:pt x="127" y="365"/>
                    <a:pt x="58" y="296"/>
                    <a:pt x="58" y="211"/>
                  </a:cubicBezTo>
                  <a:cubicBezTo>
                    <a:pt x="58" y="127"/>
                    <a:pt x="127" y="58"/>
                    <a:pt x="211" y="58"/>
                  </a:cubicBezTo>
                  <a:cubicBezTo>
                    <a:pt x="296" y="58"/>
                    <a:pt x="365" y="127"/>
                    <a:pt x="365" y="211"/>
                  </a:cubicBezTo>
                  <a:cubicBezTo>
                    <a:pt x="365" y="296"/>
                    <a:pt x="296" y="365"/>
                    <a:pt x="211" y="365"/>
                  </a:cubicBezTo>
                  <a:close/>
                  <a:moveTo>
                    <a:pt x="396" y="315"/>
                  </a:moveTo>
                  <a:cubicBezTo>
                    <a:pt x="413" y="284"/>
                    <a:pt x="423" y="249"/>
                    <a:pt x="423" y="211"/>
                  </a:cubicBezTo>
                  <a:cubicBezTo>
                    <a:pt x="423" y="95"/>
                    <a:pt x="328" y="0"/>
                    <a:pt x="211" y="0"/>
                  </a:cubicBezTo>
                  <a:cubicBezTo>
                    <a:pt x="95" y="0"/>
                    <a:pt x="0" y="95"/>
                    <a:pt x="0" y="211"/>
                  </a:cubicBezTo>
                  <a:cubicBezTo>
                    <a:pt x="0" y="328"/>
                    <a:pt x="95" y="423"/>
                    <a:pt x="211" y="423"/>
                  </a:cubicBezTo>
                  <a:cubicBezTo>
                    <a:pt x="249" y="423"/>
                    <a:pt x="284" y="413"/>
                    <a:pt x="315" y="396"/>
                  </a:cubicBezTo>
                  <a:lnTo>
                    <a:pt x="418" y="514"/>
                  </a:lnTo>
                  <a:cubicBezTo>
                    <a:pt x="445" y="545"/>
                    <a:pt x="489" y="547"/>
                    <a:pt x="519" y="517"/>
                  </a:cubicBezTo>
                  <a:cubicBezTo>
                    <a:pt x="546" y="490"/>
                    <a:pt x="547" y="444"/>
                    <a:pt x="515" y="417"/>
                  </a:cubicBezTo>
                  <a:lnTo>
                    <a:pt x="396" y="315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Computer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1E72B51-5E40-4084-A5C5-7646AFA1FBB0}"/>
              </a:ext>
            </a:extLst>
          </p:cNvPr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3649187" y="5603558"/>
            <a:ext cx="505669" cy="337114"/>
          </a:xfrm>
          <a:custGeom>
            <a:avLst/>
            <a:gdLst>
              <a:gd name="T0" fmla="*/ 528 w 636"/>
              <a:gd name="T1" fmla="*/ 371 h 423"/>
              <a:gd name="T2" fmla="*/ 584 w 636"/>
              <a:gd name="T3" fmla="*/ 315 h 423"/>
              <a:gd name="T4" fmla="*/ 584 w 636"/>
              <a:gd name="T5" fmla="*/ 51 h 423"/>
              <a:gd name="T6" fmla="*/ 528 w 636"/>
              <a:gd name="T7" fmla="*/ 0 h 423"/>
              <a:gd name="T8" fmla="*/ 107 w 636"/>
              <a:gd name="T9" fmla="*/ 0 h 423"/>
              <a:gd name="T10" fmla="*/ 51 w 636"/>
              <a:gd name="T11" fmla="*/ 51 h 423"/>
              <a:gd name="T12" fmla="*/ 51 w 636"/>
              <a:gd name="T13" fmla="*/ 315 h 423"/>
              <a:gd name="T14" fmla="*/ 107 w 636"/>
              <a:gd name="T15" fmla="*/ 371 h 423"/>
              <a:gd name="T16" fmla="*/ 0 w 636"/>
              <a:gd name="T17" fmla="*/ 371 h 423"/>
              <a:gd name="T18" fmla="*/ 0 w 636"/>
              <a:gd name="T19" fmla="*/ 422 h 423"/>
              <a:gd name="T20" fmla="*/ 635 w 636"/>
              <a:gd name="T21" fmla="*/ 422 h 423"/>
              <a:gd name="T22" fmla="*/ 635 w 636"/>
              <a:gd name="T23" fmla="*/ 371 h 423"/>
              <a:gd name="T24" fmla="*/ 528 w 636"/>
              <a:gd name="T25" fmla="*/ 371 h 423"/>
              <a:gd name="T26" fmla="*/ 107 w 636"/>
              <a:gd name="T27" fmla="*/ 51 h 423"/>
              <a:gd name="T28" fmla="*/ 528 w 636"/>
              <a:gd name="T29" fmla="*/ 51 h 423"/>
              <a:gd name="T30" fmla="*/ 528 w 636"/>
              <a:gd name="T31" fmla="*/ 315 h 423"/>
              <a:gd name="T32" fmla="*/ 107 w 636"/>
              <a:gd name="T33" fmla="*/ 315 h 423"/>
              <a:gd name="T34" fmla="*/ 107 w 636"/>
              <a:gd name="T35" fmla="*/ 51 h 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36" h="423">
                <a:moveTo>
                  <a:pt x="528" y="371"/>
                </a:moveTo>
                <a:cubicBezTo>
                  <a:pt x="559" y="371"/>
                  <a:pt x="584" y="346"/>
                  <a:pt x="584" y="315"/>
                </a:cubicBezTo>
                <a:lnTo>
                  <a:pt x="584" y="51"/>
                </a:lnTo>
                <a:cubicBezTo>
                  <a:pt x="584" y="21"/>
                  <a:pt x="559" y="0"/>
                  <a:pt x="528" y="0"/>
                </a:cubicBezTo>
                <a:lnTo>
                  <a:pt x="107" y="0"/>
                </a:lnTo>
                <a:cubicBezTo>
                  <a:pt x="76" y="0"/>
                  <a:pt x="51" y="21"/>
                  <a:pt x="51" y="51"/>
                </a:cubicBezTo>
                <a:lnTo>
                  <a:pt x="51" y="315"/>
                </a:lnTo>
                <a:cubicBezTo>
                  <a:pt x="51" y="346"/>
                  <a:pt x="76" y="371"/>
                  <a:pt x="107" y="371"/>
                </a:cubicBezTo>
                <a:lnTo>
                  <a:pt x="0" y="371"/>
                </a:lnTo>
                <a:lnTo>
                  <a:pt x="0" y="422"/>
                </a:lnTo>
                <a:lnTo>
                  <a:pt x="635" y="422"/>
                </a:lnTo>
                <a:lnTo>
                  <a:pt x="635" y="371"/>
                </a:lnTo>
                <a:lnTo>
                  <a:pt x="528" y="371"/>
                </a:lnTo>
                <a:close/>
                <a:moveTo>
                  <a:pt x="107" y="51"/>
                </a:moveTo>
                <a:lnTo>
                  <a:pt x="528" y="51"/>
                </a:lnTo>
                <a:lnTo>
                  <a:pt x="528" y="315"/>
                </a:lnTo>
                <a:lnTo>
                  <a:pt x="107" y="315"/>
                </a:lnTo>
                <a:lnTo>
                  <a:pt x="107" y="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5" name="Sho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B48578D-3152-4A06-908A-D11EE1E2A11C}"/>
              </a:ext>
            </a:extLst>
          </p:cNvPr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3956601" y="3387571"/>
            <a:ext cx="421042" cy="370825"/>
          </a:xfrm>
          <a:custGeom>
            <a:avLst/>
            <a:gdLst>
              <a:gd name="T0" fmla="*/ 454 w 481"/>
              <a:gd name="T1" fmla="*/ 0 h 425"/>
              <a:gd name="T2" fmla="*/ 30 w 481"/>
              <a:gd name="T3" fmla="*/ 0 h 425"/>
              <a:gd name="T4" fmla="*/ 30 w 481"/>
              <a:gd name="T5" fmla="*/ 51 h 425"/>
              <a:gd name="T6" fmla="*/ 454 w 481"/>
              <a:gd name="T7" fmla="*/ 51 h 425"/>
              <a:gd name="T8" fmla="*/ 454 w 481"/>
              <a:gd name="T9" fmla="*/ 0 h 425"/>
              <a:gd name="T10" fmla="*/ 480 w 481"/>
              <a:gd name="T11" fmla="*/ 266 h 425"/>
              <a:gd name="T12" fmla="*/ 480 w 481"/>
              <a:gd name="T13" fmla="*/ 209 h 425"/>
              <a:gd name="T14" fmla="*/ 454 w 481"/>
              <a:gd name="T15" fmla="*/ 76 h 425"/>
              <a:gd name="T16" fmla="*/ 30 w 481"/>
              <a:gd name="T17" fmla="*/ 76 h 425"/>
              <a:gd name="T18" fmla="*/ 0 w 481"/>
              <a:gd name="T19" fmla="*/ 209 h 425"/>
              <a:gd name="T20" fmla="*/ 0 w 481"/>
              <a:gd name="T21" fmla="*/ 266 h 425"/>
              <a:gd name="T22" fmla="*/ 30 w 481"/>
              <a:gd name="T23" fmla="*/ 266 h 425"/>
              <a:gd name="T24" fmla="*/ 30 w 481"/>
              <a:gd name="T25" fmla="*/ 424 h 425"/>
              <a:gd name="T26" fmla="*/ 296 w 481"/>
              <a:gd name="T27" fmla="*/ 424 h 425"/>
              <a:gd name="T28" fmla="*/ 296 w 481"/>
              <a:gd name="T29" fmla="*/ 266 h 425"/>
              <a:gd name="T30" fmla="*/ 403 w 481"/>
              <a:gd name="T31" fmla="*/ 266 h 425"/>
              <a:gd name="T32" fmla="*/ 403 w 481"/>
              <a:gd name="T33" fmla="*/ 424 h 425"/>
              <a:gd name="T34" fmla="*/ 454 w 481"/>
              <a:gd name="T35" fmla="*/ 424 h 425"/>
              <a:gd name="T36" fmla="*/ 454 w 481"/>
              <a:gd name="T37" fmla="*/ 266 h 425"/>
              <a:gd name="T38" fmla="*/ 480 w 481"/>
              <a:gd name="T39" fmla="*/ 266 h 425"/>
              <a:gd name="T40" fmla="*/ 240 w 481"/>
              <a:gd name="T41" fmla="*/ 373 h 425"/>
              <a:gd name="T42" fmla="*/ 81 w 481"/>
              <a:gd name="T43" fmla="*/ 373 h 425"/>
              <a:gd name="T44" fmla="*/ 81 w 481"/>
              <a:gd name="T45" fmla="*/ 266 h 425"/>
              <a:gd name="T46" fmla="*/ 240 w 481"/>
              <a:gd name="T47" fmla="*/ 266 h 425"/>
              <a:gd name="T48" fmla="*/ 240 w 481"/>
              <a:gd name="T49" fmla="*/ 373 h 4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81" h="425">
                <a:moveTo>
                  <a:pt x="454" y="0"/>
                </a:moveTo>
                <a:lnTo>
                  <a:pt x="30" y="0"/>
                </a:lnTo>
                <a:lnTo>
                  <a:pt x="30" y="51"/>
                </a:lnTo>
                <a:lnTo>
                  <a:pt x="454" y="51"/>
                </a:lnTo>
                <a:lnTo>
                  <a:pt x="454" y="0"/>
                </a:lnTo>
                <a:close/>
                <a:moveTo>
                  <a:pt x="480" y="266"/>
                </a:moveTo>
                <a:lnTo>
                  <a:pt x="480" y="209"/>
                </a:lnTo>
                <a:lnTo>
                  <a:pt x="454" y="76"/>
                </a:lnTo>
                <a:lnTo>
                  <a:pt x="30" y="76"/>
                </a:lnTo>
                <a:lnTo>
                  <a:pt x="0" y="209"/>
                </a:lnTo>
                <a:lnTo>
                  <a:pt x="0" y="266"/>
                </a:lnTo>
                <a:lnTo>
                  <a:pt x="30" y="266"/>
                </a:lnTo>
                <a:lnTo>
                  <a:pt x="30" y="424"/>
                </a:lnTo>
                <a:lnTo>
                  <a:pt x="296" y="424"/>
                </a:lnTo>
                <a:lnTo>
                  <a:pt x="296" y="266"/>
                </a:lnTo>
                <a:lnTo>
                  <a:pt x="403" y="266"/>
                </a:lnTo>
                <a:lnTo>
                  <a:pt x="403" y="424"/>
                </a:lnTo>
                <a:lnTo>
                  <a:pt x="454" y="424"/>
                </a:lnTo>
                <a:lnTo>
                  <a:pt x="454" y="266"/>
                </a:lnTo>
                <a:lnTo>
                  <a:pt x="480" y="266"/>
                </a:lnTo>
                <a:close/>
                <a:moveTo>
                  <a:pt x="240" y="373"/>
                </a:moveTo>
                <a:lnTo>
                  <a:pt x="81" y="373"/>
                </a:lnTo>
                <a:lnTo>
                  <a:pt x="81" y="266"/>
                </a:lnTo>
                <a:lnTo>
                  <a:pt x="240" y="266"/>
                </a:lnTo>
                <a:lnTo>
                  <a:pt x="240" y="37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6" name="Bar_cod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6420F42-E5AE-4700-9585-6D23DE5E6F27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2913363" y="3421046"/>
            <a:ext cx="370807" cy="278606"/>
          </a:xfrm>
          <a:custGeom>
            <a:avLst/>
            <a:gdLst>
              <a:gd name="T0" fmla="*/ 25 w 200"/>
              <a:gd name="T1" fmla="*/ 0 h 150"/>
              <a:gd name="T2" fmla="*/ 0 w 200"/>
              <a:gd name="T3" fmla="*/ 125 h 150"/>
              <a:gd name="T4" fmla="*/ 38 w 200"/>
              <a:gd name="T5" fmla="*/ 0 h 150"/>
              <a:gd name="T6" fmla="*/ 50 w 200"/>
              <a:gd name="T7" fmla="*/ 125 h 150"/>
              <a:gd name="T8" fmla="*/ 38 w 200"/>
              <a:gd name="T9" fmla="*/ 0 h 150"/>
              <a:gd name="T10" fmla="*/ 75 w 200"/>
              <a:gd name="T11" fmla="*/ 0 h 150"/>
              <a:gd name="T12" fmla="*/ 63 w 200"/>
              <a:gd name="T13" fmla="*/ 125 h 150"/>
              <a:gd name="T14" fmla="*/ 100 w 200"/>
              <a:gd name="T15" fmla="*/ 0 h 150"/>
              <a:gd name="T16" fmla="*/ 113 w 200"/>
              <a:gd name="T17" fmla="*/ 125 h 150"/>
              <a:gd name="T18" fmla="*/ 100 w 200"/>
              <a:gd name="T19" fmla="*/ 0 h 150"/>
              <a:gd name="T20" fmla="*/ 163 w 200"/>
              <a:gd name="T21" fmla="*/ 0 h 150"/>
              <a:gd name="T22" fmla="*/ 150 w 200"/>
              <a:gd name="T23" fmla="*/ 125 h 150"/>
              <a:gd name="T24" fmla="*/ 188 w 200"/>
              <a:gd name="T25" fmla="*/ 0 h 150"/>
              <a:gd name="T26" fmla="*/ 200 w 200"/>
              <a:gd name="T27" fmla="*/ 125 h 150"/>
              <a:gd name="T28" fmla="*/ 188 w 200"/>
              <a:gd name="T29" fmla="*/ 0 h 150"/>
              <a:gd name="T30" fmla="*/ 131 w 200"/>
              <a:gd name="T31" fmla="*/ 0 h 150"/>
              <a:gd name="T32" fmla="*/ 125 w 200"/>
              <a:gd name="T33" fmla="*/ 125 h 150"/>
              <a:gd name="T34" fmla="*/ 88 w 200"/>
              <a:gd name="T35" fmla="*/ 0 h 150"/>
              <a:gd name="T36" fmla="*/ 94 w 200"/>
              <a:gd name="T37" fmla="*/ 125 h 150"/>
              <a:gd name="T38" fmla="*/ 88 w 200"/>
              <a:gd name="T39" fmla="*/ 0 h 150"/>
              <a:gd name="T40" fmla="*/ 175 w 200"/>
              <a:gd name="T41" fmla="*/ 0 h 150"/>
              <a:gd name="T42" fmla="*/ 169 w 200"/>
              <a:gd name="T43" fmla="*/ 125 h 150"/>
              <a:gd name="T44" fmla="*/ 0 w 200"/>
              <a:gd name="T45" fmla="*/ 138 h 150"/>
              <a:gd name="T46" fmla="*/ 13 w 200"/>
              <a:gd name="T47" fmla="*/ 150 h 150"/>
              <a:gd name="T48" fmla="*/ 0 w 200"/>
              <a:gd name="T49" fmla="*/ 138 h 150"/>
              <a:gd name="T50" fmla="*/ 50 w 200"/>
              <a:gd name="T51" fmla="*/ 138 h 150"/>
              <a:gd name="T52" fmla="*/ 38 w 200"/>
              <a:gd name="T53" fmla="*/ 150 h 150"/>
              <a:gd name="T54" fmla="*/ 63 w 200"/>
              <a:gd name="T55" fmla="*/ 138 h 150"/>
              <a:gd name="T56" fmla="*/ 75 w 200"/>
              <a:gd name="T57" fmla="*/ 150 h 150"/>
              <a:gd name="T58" fmla="*/ 63 w 200"/>
              <a:gd name="T59" fmla="*/ 138 h 150"/>
              <a:gd name="T60" fmla="*/ 138 w 200"/>
              <a:gd name="T61" fmla="*/ 138 h 150"/>
              <a:gd name="T62" fmla="*/ 125 w 200"/>
              <a:gd name="T63" fmla="*/ 150 h 150"/>
              <a:gd name="T64" fmla="*/ 188 w 200"/>
              <a:gd name="T65" fmla="*/ 138 h 150"/>
              <a:gd name="T66" fmla="*/ 200 w 200"/>
              <a:gd name="T67" fmla="*/ 150 h 150"/>
              <a:gd name="T68" fmla="*/ 188 w 200"/>
              <a:gd name="T69" fmla="*/ 138 h 150"/>
              <a:gd name="T70" fmla="*/ 175 w 200"/>
              <a:gd name="T71" fmla="*/ 138 h 150"/>
              <a:gd name="T72" fmla="*/ 150 w 200"/>
              <a:gd name="T73" fmla="*/ 150 h 150"/>
              <a:gd name="T74" fmla="*/ 88 w 200"/>
              <a:gd name="T75" fmla="*/ 138 h 150"/>
              <a:gd name="T76" fmla="*/ 113 w 200"/>
              <a:gd name="T77" fmla="*/ 150 h 150"/>
              <a:gd name="T78" fmla="*/ 88 w 200"/>
              <a:gd name="T79" fmla="*/ 138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00" h="150">
                <a:moveTo>
                  <a:pt x="0" y="0"/>
                </a:moveTo>
                <a:lnTo>
                  <a:pt x="25" y="0"/>
                </a:lnTo>
                <a:lnTo>
                  <a:pt x="25" y="125"/>
                </a:lnTo>
                <a:lnTo>
                  <a:pt x="0" y="125"/>
                </a:lnTo>
                <a:lnTo>
                  <a:pt x="0" y="0"/>
                </a:lnTo>
                <a:close/>
                <a:moveTo>
                  <a:pt x="38" y="0"/>
                </a:moveTo>
                <a:lnTo>
                  <a:pt x="50" y="0"/>
                </a:lnTo>
                <a:lnTo>
                  <a:pt x="50" y="125"/>
                </a:lnTo>
                <a:lnTo>
                  <a:pt x="38" y="125"/>
                </a:lnTo>
                <a:lnTo>
                  <a:pt x="38" y="0"/>
                </a:lnTo>
                <a:close/>
                <a:moveTo>
                  <a:pt x="63" y="0"/>
                </a:moveTo>
                <a:lnTo>
                  <a:pt x="75" y="0"/>
                </a:lnTo>
                <a:lnTo>
                  <a:pt x="75" y="125"/>
                </a:lnTo>
                <a:lnTo>
                  <a:pt x="63" y="125"/>
                </a:lnTo>
                <a:lnTo>
                  <a:pt x="63" y="0"/>
                </a:lnTo>
                <a:close/>
                <a:moveTo>
                  <a:pt x="100" y="0"/>
                </a:moveTo>
                <a:lnTo>
                  <a:pt x="113" y="0"/>
                </a:lnTo>
                <a:lnTo>
                  <a:pt x="113" y="125"/>
                </a:lnTo>
                <a:lnTo>
                  <a:pt x="100" y="125"/>
                </a:lnTo>
                <a:lnTo>
                  <a:pt x="100" y="0"/>
                </a:lnTo>
                <a:close/>
                <a:moveTo>
                  <a:pt x="150" y="0"/>
                </a:moveTo>
                <a:lnTo>
                  <a:pt x="163" y="0"/>
                </a:lnTo>
                <a:lnTo>
                  <a:pt x="163" y="125"/>
                </a:lnTo>
                <a:lnTo>
                  <a:pt x="150" y="125"/>
                </a:lnTo>
                <a:lnTo>
                  <a:pt x="150" y="0"/>
                </a:lnTo>
                <a:close/>
                <a:moveTo>
                  <a:pt x="188" y="0"/>
                </a:moveTo>
                <a:lnTo>
                  <a:pt x="200" y="0"/>
                </a:lnTo>
                <a:lnTo>
                  <a:pt x="200" y="125"/>
                </a:lnTo>
                <a:lnTo>
                  <a:pt x="188" y="125"/>
                </a:lnTo>
                <a:lnTo>
                  <a:pt x="188" y="0"/>
                </a:lnTo>
                <a:close/>
                <a:moveTo>
                  <a:pt x="125" y="0"/>
                </a:moveTo>
                <a:lnTo>
                  <a:pt x="131" y="0"/>
                </a:lnTo>
                <a:lnTo>
                  <a:pt x="131" y="125"/>
                </a:lnTo>
                <a:lnTo>
                  <a:pt x="125" y="125"/>
                </a:lnTo>
                <a:lnTo>
                  <a:pt x="125" y="0"/>
                </a:lnTo>
                <a:close/>
                <a:moveTo>
                  <a:pt x="88" y="0"/>
                </a:moveTo>
                <a:lnTo>
                  <a:pt x="94" y="0"/>
                </a:lnTo>
                <a:lnTo>
                  <a:pt x="94" y="125"/>
                </a:lnTo>
                <a:lnTo>
                  <a:pt x="88" y="125"/>
                </a:lnTo>
                <a:lnTo>
                  <a:pt x="88" y="0"/>
                </a:lnTo>
                <a:close/>
                <a:moveTo>
                  <a:pt x="169" y="0"/>
                </a:moveTo>
                <a:lnTo>
                  <a:pt x="175" y="0"/>
                </a:lnTo>
                <a:lnTo>
                  <a:pt x="175" y="125"/>
                </a:lnTo>
                <a:lnTo>
                  <a:pt x="169" y="125"/>
                </a:lnTo>
                <a:lnTo>
                  <a:pt x="169" y="0"/>
                </a:lnTo>
                <a:close/>
                <a:moveTo>
                  <a:pt x="0" y="138"/>
                </a:moveTo>
                <a:lnTo>
                  <a:pt x="13" y="138"/>
                </a:lnTo>
                <a:lnTo>
                  <a:pt x="13" y="150"/>
                </a:lnTo>
                <a:lnTo>
                  <a:pt x="0" y="150"/>
                </a:lnTo>
                <a:lnTo>
                  <a:pt x="0" y="138"/>
                </a:lnTo>
                <a:close/>
                <a:moveTo>
                  <a:pt x="38" y="138"/>
                </a:moveTo>
                <a:lnTo>
                  <a:pt x="50" y="138"/>
                </a:lnTo>
                <a:lnTo>
                  <a:pt x="50" y="150"/>
                </a:lnTo>
                <a:lnTo>
                  <a:pt x="38" y="150"/>
                </a:lnTo>
                <a:lnTo>
                  <a:pt x="38" y="138"/>
                </a:lnTo>
                <a:close/>
                <a:moveTo>
                  <a:pt x="63" y="138"/>
                </a:moveTo>
                <a:lnTo>
                  <a:pt x="75" y="138"/>
                </a:lnTo>
                <a:lnTo>
                  <a:pt x="75" y="150"/>
                </a:lnTo>
                <a:lnTo>
                  <a:pt x="63" y="150"/>
                </a:lnTo>
                <a:lnTo>
                  <a:pt x="63" y="138"/>
                </a:lnTo>
                <a:close/>
                <a:moveTo>
                  <a:pt x="125" y="138"/>
                </a:moveTo>
                <a:lnTo>
                  <a:pt x="138" y="138"/>
                </a:lnTo>
                <a:lnTo>
                  <a:pt x="138" y="150"/>
                </a:lnTo>
                <a:lnTo>
                  <a:pt x="125" y="150"/>
                </a:lnTo>
                <a:lnTo>
                  <a:pt x="125" y="138"/>
                </a:lnTo>
                <a:close/>
                <a:moveTo>
                  <a:pt x="188" y="138"/>
                </a:moveTo>
                <a:lnTo>
                  <a:pt x="200" y="138"/>
                </a:lnTo>
                <a:lnTo>
                  <a:pt x="200" y="150"/>
                </a:lnTo>
                <a:lnTo>
                  <a:pt x="188" y="150"/>
                </a:lnTo>
                <a:lnTo>
                  <a:pt x="188" y="138"/>
                </a:lnTo>
                <a:close/>
                <a:moveTo>
                  <a:pt x="150" y="138"/>
                </a:moveTo>
                <a:lnTo>
                  <a:pt x="175" y="138"/>
                </a:lnTo>
                <a:lnTo>
                  <a:pt x="175" y="150"/>
                </a:lnTo>
                <a:lnTo>
                  <a:pt x="150" y="150"/>
                </a:lnTo>
                <a:lnTo>
                  <a:pt x="150" y="138"/>
                </a:lnTo>
                <a:close/>
                <a:moveTo>
                  <a:pt x="88" y="138"/>
                </a:moveTo>
                <a:lnTo>
                  <a:pt x="113" y="138"/>
                </a:lnTo>
                <a:lnTo>
                  <a:pt x="113" y="150"/>
                </a:lnTo>
                <a:lnTo>
                  <a:pt x="88" y="150"/>
                </a:lnTo>
                <a:lnTo>
                  <a:pt x="88" y="138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99BB3922-C6C1-424C-BA00-FC0DC0A1216E}"/>
              </a:ext>
            </a:extLst>
          </p:cNvPr>
          <p:cNvGrpSpPr>
            <a:grpSpLocks noChangeAspect="1"/>
          </p:cNvGrpSpPr>
          <p:nvPr/>
        </p:nvGrpSpPr>
        <p:grpSpPr>
          <a:xfrm>
            <a:off x="1319595" y="2089079"/>
            <a:ext cx="4195528" cy="4195528"/>
            <a:chOff x="4191000" y="2196353"/>
            <a:chExt cx="3810000" cy="3810000"/>
          </a:xfrm>
        </p:grpSpPr>
        <p:sp>
          <p:nvSpPr>
            <p:cNvPr id="88" name="Arc 87">
              <a:extLst>
                <a:ext uri="{FF2B5EF4-FFF2-40B4-BE49-F238E27FC236}">
                  <a16:creationId xmlns:a16="http://schemas.microsoft.com/office/drawing/2014/main" id="{58D271F3-BC2D-442A-82CD-048326C3626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00000"/>
                <a:gd name="adj2" fmla="val 3085714"/>
              </a:avLst>
            </a:prstGeom>
            <a:noFill/>
            <a:ln w="76200">
              <a:solidFill>
                <a:schemeClr val="accent4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Arc 88">
              <a:extLst>
                <a:ext uri="{FF2B5EF4-FFF2-40B4-BE49-F238E27FC236}">
                  <a16:creationId xmlns:a16="http://schemas.microsoft.com/office/drawing/2014/main" id="{C5574E1E-5FC0-4F7E-846A-9A2D80E1ED9B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3685714"/>
                <a:gd name="adj2" fmla="val 6171428"/>
              </a:avLst>
            </a:prstGeom>
            <a:noFill/>
            <a:ln w="76200">
              <a:solidFill>
                <a:schemeClr val="accent5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Arc 89">
              <a:extLst>
                <a:ext uri="{FF2B5EF4-FFF2-40B4-BE49-F238E27FC236}">
                  <a16:creationId xmlns:a16="http://schemas.microsoft.com/office/drawing/2014/main" id="{B33B1E6D-D95E-4127-BD05-DE7533197E56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6771428"/>
                <a:gd name="adj2" fmla="val 9257143"/>
              </a:avLst>
            </a:prstGeom>
            <a:noFill/>
            <a:ln w="76200">
              <a:solidFill>
                <a:schemeClr val="accent6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Arc 90">
              <a:extLst>
                <a:ext uri="{FF2B5EF4-FFF2-40B4-BE49-F238E27FC236}">
                  <a16:creationId xmlns:a16="http://schemas.microsoft.com/office/drawing/2014/main" id="{CE036E5B-23DE-4B42-927C-3F36D022A213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9857143"/>
                <a:gd name="adj2" fmla="val 12342857"/>
              </a:avLst>
            </a:prstGeom>
            <a:noFill/>
            <a:ln w="76200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Arc 91">
              <a:extLst>
                <a:ext uri="{FF2B5EF4-FFF2-40B4-BE49-F238E27FC236}">
                  <a16:creationId xmlns:a16="http://schemas.microsoft.com/office/drawing/2014/main" id="{C116C70A-41DA-44FE-959A-DF5F7E5D7751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2942857"/>
                <a:gd name="adj2" fmla="val 15428571"/>
              </a:avLst>
            </a:prstGeom>
            <a:noFill/>
            <a:ln w="76200">
              <a:solidFill>
                <a:schemeClr val="accent1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Arc 92">
              <a:extLst>
                <a:ext uri="{FF2B5EF4-FFF2-40B4-BE49-F238E27FC236}">
                  <a16:creationId xmlns:a16="http://schemas.microsoft.com/office/drawing/2014/main" id="{897370D4-2D5D-4334-906F-EE205C806528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6028571"/>
                <a:gd name="adj2" fmla="val 18514286"/>
              </a:avLst>
            </a:prstGeom>
            <a:noFill/>
            <a:ln w="76200">
              <a:solidFill>
                <a:schemeClr val="accent2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0C27114C-E471-4B49-89FF-D849B2D7D407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4191000" y="2196353"/>
              <a:ext cx="3810000" cy="3810000"/>
            </a:xfrm>
            <a:prstGeom prst="arc">
              <a:avLst>
                <a:gd name="adj1" fmla="val 19114286"/>
                <a:gd name="adj2" fmla="val 0"/>
              </a:avLst>
            </a:prstGeom>
            <a:noFill/>
            <a:ln w="76200">
              <a:solidFill>
                <a:schemeClr val="accent3"/>
              </a:solidFill>
              <a:prstDash val="solid"/>
              <a:headEnd type="non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5" name="Freeform 333">
            <a:extLst>
              <a:ext uri="{FF2B5EF4-FFF2-40B4-BE49-F238E27FC236}">
                <a16:creationId xmlns:a16="http://schemas.microsoft.com/office/drawing/2014/main" id="{F4E7616B-ED3C-496F-9961-178F01E738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559" y="2958663"/>
            <a:ext cx="428902" cy="286289"/>
          </a:xfrm>
          <a:custGeom>
            <a:avLst/>
            <a:gdLst>
              <a:gd name="T0" fmla="*/ 2147483646 w 4165"/>
              <a:gd name="T1" fmla="*/ 2147483646 h 2777"/>
              <a:gd name="T2" fmla="*/ 2147483646 w 4165"/>
              <a:gd name="T3" fmla="*/ 2147483646 h 2777"/>
              <a:gd name="T4" fmla="*/ 2147483646 w 4165"/>
              <a:gd name="T5" fmla="*/ 0 h 2777"/>
              <a:gd name="T6" fmla="*/ 2147483646 w 4165"/>
              <a:gd name="T7" fmla="*/ 2147483646 h 2777"/>
              <a:gd name="T8" fmla="*/ 0 w 4165"/>
              <a:gd name="T9" fmla="*/ 2147483646 h 2777"/>
              <a:gd name="T10" fmla="*/ 2147483646 w 4165"/>
              <a:gd name="T11" fmla="*/ 2147483646 h 2777"/>
              <a:gd name="T12" fmla="*/ 2147483646 w 4165"/>
              <a:gd name="T13" fmla="*/ 2147483646 h 2777"/>
              <a:gd name="T14" fmla="*/ 2147483646 w 4165"/>
              <a:gd name="T15" fmla="*/ 2147483646 h 2777"/>
              <a:gd name="T16" fmla="*/ 2147483646 w 4165"/>
              <a:gd name="T17" fmla="*/ 2147483646 h 2777"/>
              <a:gd name="T18" fmla="*/ 2147483646 w 4165"/>
              <a:gd name="T19" fmla="*/ 2147483646 h 2777"/>
              <a:gd name="T20" fmla="*/ 2147483646 w 4165"/>
              <a:gd name="T21" fmla="*/ 2147483646 h 2777"/>
              <a:gd name="T22" fmla="*/ 2147483646 w 4165"/>
              <a:gd name="T23" fmla="*/ 2147483646 h 2777"/>
              <a:gd name="T24" fmla="*/ 2147483646 w 4165"/>
              <a:gd name="T25" fmla="*/ 2147483646 h 2777"/>
              <a:gd name="T26" fmla="*/ 2147483646 w 4165"/>
              <a:gd name="T27" fmla="*/ 2147483646 h 2777"/>
              <a:gd name="T28" fmla="*/ 2147483646 w 4165"/>
              <a:gd name="T29" fmla="*/ 2147483646 h 2777"/>
              <a:gd name="T30" fmla="*/ 2147483646 w 4165"/>
              <a:gd name="T31" fmla="*/ 2147483646 h 2777"/>
              <a:gd name="T32" fmla="*/ 2147483646 w 4165"/>
              <a:gd name="T33" fmla="*/ 2147483646 h 2777"/>
              <a:gd name="T34" fmla="*/ 2147483646 w 4165"/>
              <a:gd name="T35" fmla="*/ 2147483646 h 277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4165" h="2777">
                <a:moveTo>
                  <a:pt x="3368" y="1041"/>
                </a:moveTo>
                <a:lnTo>
                  <a:pt x="3368" y="1041"/>
                </a:lnTo>
                <a:cubicBezTo>
                  <a:pt x="3245" y="454"/>
                  <a:pt x="2724" y="0"/>
                  <a:pt x="2082" y="0"/>
                </a:cubicBezTo>
                <a:cubicBezTo>
                  <a:pt x="1582" y="0"/>
                  <a:pt x="1148" y="281"/>
                  <a:pt x="939" y="694"/>
                </a:cubicBezTo>
                <a:cubicBezTo>
                  <a:pt x="403" y="766"/>
                  <a:pt x="0" y="1200"/>
                  <a:pt x="0" y="1735"/>
                </a:cubicBezTo>
                <a:cubicBezTo>
                  <a:pt x="0" y="2311"/>
                  <a:pt x="470" y="2776"/>
                  <a:pt x="1041" y="2776"/>
                </a:cubicBezTo>
                <a:cubicBezTo>
                  <a:pt x="3296" y="2776"/>
                  <a:pt x="3296" y="2776"/>
                  <a:pt x="3296" y="2776"/>
                </a:cubicBezTo>
                <a:cubicBezTo>
                  <a:pt x="3786" y="2776"/>
                  <a:pt x="4164" y="2398"/>
                  <a:pt x="4164" y="1908"/>
                </a:cubicBezTo>
                <a:cubicBezTo>
                  <a:pt x="4164" y="1459"/>
                  <a:pt x="3801" y="1077"/>
                  <a:pt x="3368" y="1041"/>
                </a:cubicBezTo>
                <a:close/>
                <a:moveTo>
                  <a:pt x="2949" y="1561"/>
                </a:moveTo>
                <a:lnTo>
                  <a:pt x="2949" y="1561"/>
                </a:lnTo>
                <a:cubicBezTo>
                  <a:pt x="2082" y="2429"/>
                  <a:pt x="2082" y="2429"/>
                  <a:pt x="2082" y="2429"/>
                </a:cubicBezTo>
                <a:cubicBezTo>
                  <a:pt x="1215" y="1561"/>
                  <a:pt x="1215" y="1561"/>
                  <a:pt x="1215" y="1561"/>
                </a:cubicBezTo>
                <a:cubicBezTo>
                  <a:pt x="1735" y="1561"/>
                  <a:pt x="1735" y="1561"/>
                  <a:pt x="1735" y="1561"/>
                </a:cubicBezTo>
                <a:cubicBezTo>
                  <a:pt x="1735" y="868"/>
                  <a:pt x="1735" y="868"/>
                  <a:pt x="1735" y="868"/>
                </a:cubicBezTo>
                <a:cubicBezTo>
                  <a:pt x="2428" y="868"/>
                  <a:pt x="2428" y="868"/>
                  <a:pt x="2428" y="868"/>
                </a:cubicBezTo>
                <a:cubicBezTo>
                  <a:pt x="2428" y="1561"/>
                  <a:pt x="2428" y="1561"/>
                  <a:pt x="2428" y="1561"/>
                </a:cubicBezTo>
                <a:lnTo>
                  <a:pt x="2949" y="15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703" dirty="0"/>
          </a:p>
        </p:txBody>
      </p:sp>
      <p:grpSp>
        <p:nvGrpSpPr>
          <p:cNvPr id="96" name="Group 84">
            <a:extLst>
              <a:ext uri="{FF2B5EF4-FFF2-40B4-BE49-F238E27FC236}">
                <a16:creationId xmlns:a16="http://schemas.microsoft.com/office/drawing/2014/main" id="{044B19DF-4BA6-460A-A9F5-E3B122CF614C}"/>
              </a:ext>
            </a:extLst>
          </p:cNvPr>
          <p:cNvGrpSpPr>
            <a:grpSpLocks/>
          </p:cNvGrpSpPr>
          <p:nvPr/>
        </p:nvGrpSpPr>
        <p:grpSpPr bwMode="auto">
          <a:xfrm>
            <a:off x="3605008" y="4995229"/>
            <a:ext cx="381388" cy="347148"/>
            <a:chOff x="1463675" y="3657600"/>
            <a:chExt cx="1270000" cy="1271588"/>
          </a:xfrm>
          <a:solidFill>
            <a:schemeClr val="accent1"/>
          </a:solidFill>
        </p:grpSpPr>
        <p:sp>
          <p:nvSpPr>
            <p:cNvPr id="97" name="Freeform 349">
              <a:extLst>
                <a:ext uri="{FF2B5EF4-FFF2-40B4-BE49-F238E27FC236}">
                  <a16:creationId xmlns:a16="http://schemas.microsoft.com/office/drawing/2014/main" id="{54CBABB9-D2AC-4EC2-8626-2C1AF0590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3675" y="3657600"/>
              <a:ext cx="762000" cy="1186815"/>
            </a:xfrm>
            <a:custGeom>
              <a:avLst/>
              <a:gdLst>
                <a:gd name="T0" fmla="*/ 2147483646 w 2117"/>
                <a:gd name="T1" fmla="*/ 2147483646 h 3293"/>
                <a:gd name="T2" fmla="*/ 2147483646 w 2117"/>
                <a:gd name="T3" fmla="*/ 2147483646 h 3293"/>
                <a:gd name="T4" fmla="*/ 2147483646 w 2117"/>
                <a:gd name="T5" fmla="*/ 2147483646 h 3293"/>
                <a:gd name="T6" fmla="*/ 2147483646 w 2117"/>
                <a:gd name="T7" fmla="*/ 2147483646 h 3293"/>
                <a:gd name="T8" fmla="*/ 2147483646 w 2117"/>
                <a:gd name="T9" fmla="*/ 2147483646 h 3293"/>
                <a:gd name="T10" fmla="*/ 2147483646 w 2117"/>
                <a:gd name="T11" fmla="*/ 2147483646 h 3293"/>
                <a:gd name="T12" fmla="*/ 2147483646 w 2117"/>
                <a:gd name="T13" fmla="*/ 2147483646 h 3293"/>
                <a:gd name="T14" fmla="*/ 2147483646 w 2117"/>
                <a:gd name="T15" fmla="*/ 2147483646 h 3293"/>
                <a:gd name="T16" fmla="*/ 2147483646 w 2117"/>
                <a:gd name="T17" fmla="*/ 2147483646 h 3293"/>
                <a:gd name="T18" fmla="*/ 2147483646 w 2117"/>
                <a:gd name="T19" fmla="*/ 2147483646 h 3293"/>
                <a:gd name="T20" fmla="*/ 2147483646 w 2117"/>
                <a:gd name="T21" fmla="*/ 2147483646 h 3293"/>
                <a:gd name="T22" fmla="*/ 2147483646 w 2117"/>
                <a:gd name="T23" fmla="*/ 0 h 3293"/>
                <a:gd name="T24" fmla="*/ 2147483646 w 2117"/>
                <a:gd name="T25" fmla="*/ 2147483646 h 3293"/>
                <a:gd name="T26" fmla="*/ 2147483646 w 2117"/>
                <a:gd name="T27" fmla="*/ 2147483646 h 3293"/>
                <a:gd name="T28" fmla="*/ 2147483646 w 2117"/>
                <a:gd name="T29" fmla="*/ 2147483646 h 3293"/>
                <a:gd name="T30" fmla="*/ 2147483646 w 2117"/>
                <a:gd name="T31" fmla="*/ 2147483646 h 3293"/>
                <a:gd name="T32" fmla="*/ 2147483646 w 2117"/>
                <a:gd name="T33" fmla="*/ 2147483646 h 3293"/>
                <a:gd name="T34" fmla="*/ 2147483646 w 2117"/>
                <a:gd name="T35" fmla="*/ 2147483646 h 3293"/>
                <a:gd name="T36" fmla="*/ 2147483646 w 2117"/>
                <a:gd name="T37" fmla="*/ 2147483646 h 3293"/>
                <a:gd name="T38" fmla="*/ 2147483646 w 2117"/>
                <a:gd name="T39" fmla="*/ 2147483646 h 3293"/>
                <a:gd name="T40" fmla="*/ 2147483646 w 2117"/>
                <a:gd name="T41" fmla="*/ 2147483646 h 3293"/>
                <a:gd name="T42" fmla="*/ 2147483646 w 2117"/>
                <a:gd name="T43" fmla="*/ 2147483646 h 3293"/>
                <a:gd name="T44" fmla="*/ 0 w 2117"/>
                <a:gd name="T45" fmla="*/ 2147483646 h 3293"/>
                <a:gd name="T46" fmla="*/ 0 w 2117"/>
                <a:gd name="T47" fmla="*/ 2147483646 h 3293"/>
                <a:gd name="T48" fmla="*/ 2147483646 w 2117"/>
                <a:gd name="T49" fmla="*/ 2147483646 h 3293"/>
                <a:gd name="T50" fmla="*/ 2147483646 w 2117"/>
                <a:gd name="T51" fmla="*/ 2147483646 h 3293"/>
                <a:gd name="T52" fmla="*/ 2147483646 w 2117"/>
                <a:gd name="T53" fmla="*/ 2147483646 h 3293"/>
                <a:gd name="T54" fmla="*/ 2147483646 w 2117"/>
                <a:gd name="T55" fmla="*/ 2147483646 h 329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117" h="3293">
                  <a:moveTo>
                    <a:pt x="2016" y="2296"/>
                  </a:moveTo>
                  <a:lnTo>
                    <a:pt x="2016" y="2296"/>
                  </a:lnTo>
                  <a:cubicBezTo>
                    <a:pt x="1904" y="2234"/>
                    <a:pt x="1904" y="2234"/>
                    <a:pt x="1904" y="2234"/>
                  </a:cubicBezTo>
                  <a:cubicBezTo>
                    <a:pt x="1854" y="2203"/>
                    <a:pt x="1823" y="2153"/>
                    <a:pt x="1823" y="2097"/>
                  </a:cubicBezTo>
                  <a:cubicBezTo>
                    <a:pt x="1823" y="1904"/>
                    <a:pt x="1823" y="1904"/>
                    <a:pt x="1823" y="1904"/>
                  </a:cubicBezTo>
                  <a:cubicBezTo>
                    <a:pt x="1860" y="1848"/>
                    <a:pt x="1972" y="1687"/>
                    <a:pt x="2029" y="1475"/>
                  </a:cubicBezTo>
                  <a:cubicBezTo>
                    <a:pt x="2085" y="1432"/>
                    <a:pt x="2116" y="1363"/>
                    <a:pt x="2116" y="1295"/>
                  </a:cubicBezTo>
                  <a:cubicBezTo>
                    <a:pt x="2116" y="1058"/>
                    <a:pt x="2116" y="1058"/>
                    <a:pt x="2116" y="1058"/>
                  </a:cubicBezTo>
                  <a:cubicBezTo>
                    <a:pt x="2116" y="1002"/>
                    <a:pt x="2097" y="946"/>
                    <a:pt x="2060" y="903"/>
                  </a:cubicBezTo>
                  <a:cubicBezTo>
                    <a:pt x="2060" y="591"/>
                    <a:pt x="2060" y="591"/>
                    <a:pt x="2060" y="591"/>
                  </a:cubicBezTo>
                  <a:cubicBezTo>
                    <a:pt x="2060" y="560"/>
                    <a:pt x="2072" y="367"/>
                    <a:pt x="1935" y="205"/>
                  </a:cubicBezTo>
                  <a:cubicBezTo>
                    <a:pt x="1811" y="69"/>
                    <a:pt x="1619" y="0"/>
                    <a:pt x="1351" y="0"/>
                  </a:cubicBezTo>
                  <a:cubicBezTo>
                    <a:pt x="1083" y="0"/>
                    <a:pt x="890" y="69"/>
                    <a:pt x="772" y="205"/>
                  </a:cubicBezTo>
                  <a:cubicBezTo>
                    <a:pt x="629" y="367"/>
                    <a:pt x="641" y="560"/>
                    <a:pt x="647" y="591"/>
                  </a:cubicBezTo>
                  <a:cubicBezTo>
                    <a:pt x="647" y="903"/>
                    <a:pt x="647" y="903"/>
                    <a:pt x="647" y="903"/>
                  </a:cubicBezTo>
                  <a:cubicBezTo>
                    <a:pt x="610" y="946"/>
                    <a:pt x="585" y="1002"/>
                    <a:pt x="585" y="1058"/>
                  </a:cubicBezTo>
                  <a:cubicBezTo>
                    <a:pt x="585" y="1295"/>
                    <a:pt x="585" y="1295"/>
                    <a:pt x="585" y="1295"/>
                  </a:cubicBezTo>
                  <a:cubicBezTo>
                    <a:pt x="585" y="1363"/>
                    <a:pt x="623" y="1432"/>
                    <a:pt x="679" y="1475"/>
                  </a:cubicBezTo>
                  <a:cubicBezTo>
                    <a:pt x="728" y="1687"/>
                    <a:pt x="840" y="1848"/>
                    <a:pt x="884" y="1904"/>
                  </a:cubicBezTo>
                  <a:cubicBezTo>
                    <a:pt x="884" y="2097"/>
                    <a:pt x="884" y="2097"/>
                    <a:pt x="884" y="2097"/>
                  </a:cubicBezTo>
                  <a:cubicBezTo>
                    <a:pt x="884" y="2153"/>
                    <a:pt x="853" y="2203"/>
                    <a:pt x="803" y="2234"/>
                  </a:cubicBezTo>
                  <a:cubicBezTo>
                    <a:pt x="274" y="2520"/>
                    <a:pt x="274" y="2520"/>
                    <a:pt x="274" y="2520"/>
                  </a:cubicBezTo>
                  <a:cubicBezTo>
                    <a:pt x="106" y="2614"/>
                    <a:pt x="0" y="2788"/>
                    <a:pt x="0" y="2987"/>
                  </a:cubicBezTo>
                  <a:cubicBezTo>
                    <a:pt x="0" y="3236"/>
                    <a:pt x="0" y="3236"/>
                    <a:pt x="0" y="3236"/>
                  </a:cubicBezTo>
                  <a:cubicBezTo>
                    <a:pt x="0" y="3267"/>
                    <a:pt x="25" y="3292"/>
                    <a:pt x="56" y="3292"/>
                  </a:cubicBezTo>
                  <a:cubicBezTo>
                    <a:pt x="2060" y="3292"/>
                    <a:pt x="2060" y="3292"/>
                    <a:pt x="2060" y="3292"/>
                  </a:cubicBezTo>
                  <a:cubicBezTo>
                    <a:pt x="1947" y="3143"/>
                    <a:pt x="1879" y="2962"/>
                    <a:pt x="1879" y="2763"/>
                  </a:cubicBezTo>
                  <a:cubicBezTo>
                    <a:pt x="1879" y="2589"/>
                    <a:pt x="1929" y="2433"/>
                    <a:pt x="2016" y="229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  <p:sp>
          <p:nvSpPr>
            <p:cNvPr id="98" name="Freeform 350">
              <a:extLst>
                <a:ext uri="{FF2B5EF4-FFF2-40B4-BE49-F238E27FC236}">
                  <a16:creationId xmlns:a16="http://schemas.microsoft.com/office/drawing/2014/main" id="{687E7709-B9DA-4E15-BA60-55EBE2FEC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1773" y="4376597"/>
              <a:ext cx="551902" cy="552591"/>
            </a:xfrm>
            <a:custGeom>
              <a:avLst/>
              <a:gdLst>
                <a:gd name="T0" fmla="*/ 2147483646 w 1533"/>
                <a:gd name="T1" fmla="*/ 0 h 1533"/>
                <a:gd name="T2" fmla="*/ 2147483646 w 1533"/>
                <a:gd name="T3" fmla="*/ 0 h 1533"/>
                <a:gd name="T4" fmla="*/ 0 w 1533"/>
                <a:gd name="T5" fmla="*/ 2147483646 h 1533"/>
                <a:gd name="T6" fmla="*/ 2147483646 w 1533"/>
                <a:gd name="T7" fmla="*/ 2147483646 h 1533"/>
                <a:gd name="T8" fmla="*/ 2147483646 w 1533"/>
                <a:gd name="T9" fmla="*/ 2147483646 h 1533"/>
                <a:gd name="T10" fmla="*/ 2147483646 w 1533"/>
                <a:gd name="T11" fmla="*/ 0 h 1533"/>
                <a:gd name="T12" fmla="*/ 2147483646 w 1533"/>
                <a:gd name="T13" fmla="*/ 2147483646 h 1533"/>
                <a:gd name="T14" fmla="*/ 2147483646 w 1533"/>
                <a:gd name="T15" fmla="*/ 2147483646 h 1533"/>
                <a:gd name="T16" fmla="*/ 2147483646 w 1533"/>
                <a:gd name="T17" fmla="*/ 2147483646 h 1533"/>
                <a:gd name="T18" fmla="*/ 2147483646 w 1533"/>
                <a:gd name="T19" fmla="*/ 2147483646 h 1533"/>
                <a:gd name="T20" fmla="*/ 2147483646 w 1533"/>
                <a:gd name="T21" fmla="*/ 2147483646 h 1533"/>
                <a:gd name="T22" fmla="*/ 2147483646 w 1533"/>
                <a:gd name="T23" fmla="*/ 2147483646 h 1533"/>
                <a:gd name="T24" fmla="*/ 2147483646 w 1533"/>
                <a:gd name="T25" fmla="*/ 2147483646 h 1533"/>
                <a:gd name="T26" fmla="*/ 2147483646 w 1533"/>
                <a:gd name="T27" fmla="*/ 2147483646 h 1533"/>
                <a:gd name="T28" fmla="*/ 2147483646 w 1533"/>
                <a:gd name="T29" fmla="*/ 2147483646 h 1533"/>
                <a:gd name="T30" fmla="*/ 2147483646 w 1533"/>
                <a:gd name="T31" fmla="*/ 2147483646 h 1533"/>
                <a:gd name="T32" fmla="*/ 2147483646 w 1533"/>
                <a:gd name="T33" fmla="*/ 2147483646 h 1533"/>
                <a:gd name="T34" fmla="*/ 2147483646 w 1533"/>
                <a:gd name="T35" fmla="*/ 2147483646 h 1533"/>
                <a:gd name="T36" fmla="*/ 2147483646 w 1533"/>
                <a:gd name="T37" fmla="*/ 2147483646 h 1533"/>
                <a:gd name="T38" fmla="*/ 2147483646 w 1533"/>
                <a:gd name="T39" fmla="*/ 2147483646 h 1533"/>
                <a:gd name="T40" fmla="*/ 2147483646 w 1533"/>
                <a:gd name="T41" fmla="*/ 2147483646 h 1533"/>
                <a:gd name="T42" fmla="*/ 2147483646 w 1533"/>
                <a:gd name="T43" fmla="*/ 2147483646 h 1533"/>
                <a:gd name="T44" fmla="*/ 2147483646 w 1533"/>
                <a:gd name="T45" fmla="*/ 2147483646 h 1533"/>
                <a:gd name="T46" fmla="*/ 2147483646 w 1533"/>
                <a:gd name="T47" fmla="*/ 2147483646 h 153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533" h="1533">
                  <a:moveTo>
                    <a:pt x="766" y="0"/>
                  </a:moveTo>
                  <a:lnTo>
                    <a:pt x="766" y="0"/>
                  </a:lnTo>
                  <a:cubicBezTo>
                    <a:pt x="343" y="0"/>
                    <a:pt x="0" y="343"/>
                    <a:pt x="0" y="766"/>
                  </a:cubicBezTo>
                  <a:cubicBezTo>
                    <a:pt x="0" y="1189"/>
                    <a:pt x="343" y="1532"/>
                    <a:pt x="766" y="1532"/>
                  </a:cubicBezTo>
                  <a:cubicBezTo>
                    <a:pt x="1189" y="1532"/>
                    <a:pt x="1532" y="1189"/>
                    <a:pt x="1532" y="766"/>
                  </a:cubicBezTo>
                  <a:cubicBezTo>
                    <a:pt x="1532" y="343"/>
                    <a:pt x="1189" y="0"/>
                    <a:pt x="766" y="0"/>
                  </a:cubicBezTo>
                  <a:close/>
                  <a:moveTo>
                    <a:pt x="1121" y="822"/>
                  </a:moveTo>
                  <a:lnTo>
                    <a:pt x="1121" y="822"/>
                  </a:lnTo>
                  <a:cubicBezTo>
                    <a:pt x="822" y="822"/>
                    <a:pt x="822" y="822"/>
                    <a:pt x="822" y="822"/>
                  </a:cubicBezTo>
                  <a:cubicBezTo>
                    <a:pt x="822" y="1121"/>
                    <a:pt x="822" y="1121"/>
                    <a:pt x="822" y="1121"/>
                  </a:cubicBezTo>
                  <a:cubicBezTo>
                    <a:pt x="822" y="1152"/>
                    <a:pt x="797" y="1177"/>
                    <a:pt x="766" y="1177"/>
                  </a:cubicBezTo>
                  <a:cubicBezTo>
                    <a:pt x="735" y="1177"/>
                    <a:pt x="710" y="1152"/>
                    <a:pt x="710" y="1121"/>
                  </a:cubicBezTo>
                  <a:cubicBezTo>
                    <a:pt x="710" y="822"/>
                    <a:pt x="710" y="822"/>
                    <a:pt x="710" y="822"/>
                  </a:cubicBezTo>
                  <a:cubicBezTo>
                    <a:pt x="411" y="822"/>
                    <a:pt x="411" y="822"/>
                    <a:pt x="411" y="822"/>
                  </a:cubicBezTo>
                  <a:cubicBezTo>
                    <a:pt x="380" y="822"/>
                    <a:pt x="355" y="797"/>
                    <a:pt x="355" y="766"/>
                  </a:cubicBezTo>
                  <a:cubicBezTo>
                    <a:pt x="355" y="735"/>
                    <a:pt x="380" y="710"/>
                    <a:pt x="411" y="710"/>
                  </a:cubicBezTo>
                  <a:cubicBezTo>
                    <a:pt x="710" y="710"/>
                    <a:pt x="710" y="710"/>
                    <a:pt x="710" y="710"/>
                  </a:cubicBezTo>
                  <a:cubicBezTo>
                    <a:pt x="710" y="411"/>
                    <a:pt x="710" y="411"/>
                    <a:pt x="710" y="411"/>
                  </a:cubicBezTo>
                  <a:cubicBezTo>
                    <a:pt x="710" y="380"/>
                    <a:pt x="735" y="355"/>
                    <a:pt x="766" y="355"/>
                  </a:cubicBezTo>
                  <a:cubicBezTo>
                    <a:pt x="797" y="355"/>
                    <a:pt x="822" y="380"/>
                    <a:pt x="822" y="411"/>
                  </a:cubicBezTo>
                  <a:cubicBezTo>
                    <a:pt x="822" y="710"/>
                    <a:pt x="822" y="710"/>
                    <a:pt x="822" y="710"/>
                  </a:cubicBezTo>
                  <a:cubicBezTo>
                    <a:pt x="1121" y="710"/>
                    <a:pt x="1121" y="710"/>
                    <a:pt x="1121" y="710"/>
                  </a:cubicBezTo>
                  <a:cubicBezTo>
                    <a:pt x="1152" y="710"/>
                    <a:pt x="1177" y="735"/>
                    <a:pt x="1177" y="766"/>
                  </a:cubicBezTo>
                  <a:cubicBezTo>
                    <a:pt x="1177" y="797"/>
                    <a:pt x="1152" y="822"/>
                    <a:pt x="1121" y="822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703" dirty="0"/>
            </a:p>
          </p:txBody>
        </p:sp>
      </p:grpSp>
    </p:spTree>
    <p:extLst>
      <p:ext uri="{BB962C8B-B14F-4D97-AF65-F5344CB8AC3E}">
        <p14:creationId xmlns:p14="http://schemas.microsoft.com/office/powerpoint/2010/main" val="4107901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17090CF3-9F96-43AF-A26F-349C785B5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D7739A-7C20-4BB2-93CB-4048DE38BF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3BBDCC-AEE0-4163-A749-58C8916282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767D8B72-26D1-4298-933E-B5CC2F8F34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13491"/>
              </p:ext>
            </p:extLst>
          </p:nvPr>
        </p:nvGraphicFramePr>
        <p:xfrm>
          <a:off x="6096000" y="1353648"/>
          <a:ext cx="5540554" cy="488274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16463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4024091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58081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ONE PIECE PAPER WRAP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ape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ctangular or squa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Long edges fold, short edges seal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728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8188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0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71616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minimum of 25mm high, less than 40mm from the bottom and can run along the long edge and can be on the front or back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50728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seal if inserts included, spot or continuous if no insert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07826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AFE1F68-E170-4C27-9AD6-A5FBFF53A148}"/>
              </a:ext>
            </a:extLst>
          </p:cNvPr>
          <p:cNvGraphicFramePr>
            <a:graphicFrameLocks noGrp="1"/>
          </p:cNvGraphicFramePr>
          <p:nvPr/>
        </p:nvGraphicFramePr>
        <p:xfrm>
          <a:off x="578599" y="1353645"/>
          <a:ext cx="5403102" cy="484012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78842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24260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40476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MACHINEABLE POSTCARD (2/3PLY)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 ply thicknes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590283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ximum weight 100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20gsm – 150gsm (150gsm recommended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505957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ply = minimum of 0.18mm, 3 ply = minimum of 0.27mm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Continuous seal of glue on unfolded edg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50585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att is prefer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6639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D9CFB5-ECE3-493C-8905-1F7A547A9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FORMATS TO CHOOSE FR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35859F-65A0-40A6-9841-C637FFE1B6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58C7B7-E6F5-4725-8119-4D1EC3CF7F4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D9200AC-52AC-4A25-817B-33ED360D94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055028"/>
              </p:ext>
            </p:extLst>
          </p:nvPr>
        </p:nvGraphicFramePr>
        <p:xfrm>
          <a:off x="6204030" y="1644925"/>
          <a:ext cx="5429170" cy="445356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485977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3193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2284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COUPON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Paper booklet only, no more than 85mm x 130mm, affixed to the insid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Rectangular onl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3 folds requir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165mm x 145mm (+ / - 5mm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No more than 2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Minimum 115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465355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ot applicable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Folded 3 tim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GB" sz="1400" dirty="0"/>
                        <a:t>Continuous seal of glue on unfolded edg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2451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526CC74-7FE1-4F69-A7EF-B4F019451E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627959"/>
              </p:ext>
            </p:extLst>
          </p:nvPr>
        </p:nvGraphicFramePr>
        <p:xfrm>
          <a:off x="543875" y="1644926"/>
          <a:ext cx="5437825" cy="445356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488346">
                  <a:extLst>
                    <a:ext uri="{9D8B030D-6E8A-4147-A177-3AD203B41FA5}">
                      <a16:colId xmlns:a16="http://schemas.microsoft.com/office/drawing/2014/main" val="1236747625"/>
                    </a:ext>
                  </a:extLst>
                </a:gridCol>
                <a:gridCol w="3949479">
                  <a:extLst>
                    <a:ext uri="{9D8B030D-6E8A-4147-A177-3AD203B41FA5}">
                      <a16:colId xmlns:a16="http://schemas.microsoft.com/office/drawing/2014/main" val="3412003019"/>
                    </a:ext>
                  </a:extLst>
                </a:gridCol>
              </a:tblGrid>
              <a:tr h="378036">
                <a:tc gridSpan="2">
                  <a:txBody>
                    <a:bodyPr/>
                    <a:lstStyle/>
                    <a:p>
                      <a:pPr algn="ctr"/>
                      <a:r>
                        <a:rPr lang="en-GB" dirty="0"/>
                        <a:t>FEATURE MAILER</a:t>
                      </a:r>
                      <a:endParaRPr lang="en-GB" b="0" dirty="0">
                        <a:latin typeface="+mj-lt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9853032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NSE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n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49172503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SHA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ctangular or squar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490200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O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of 2 fol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176284"/>
                  </a:ext>
                </a:extLst>
              </a:tr>
              <a:tr h="535551">
                <a:tc>
                  <a:txBody>
                    <a:bodyPr/>
                    <a:lstStyle/>
                    <a:p>
                      <a:r>
                        <a:rPr lang="en-GB" sz="1400" dirty="0"/>
                        <a:t>REFERENCE / BOTTOM E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a fol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2758625"/>
                  </a:ext>
                </a:extLst>
              </a:tr>
              <a:tr h="614309">
                <a:tc>
                  <a:txBody>
                    <a:bodyPr/>
                    <a:lstStyle/>
                    <a:p>
                      <a:r>
                        <a:rPr lang="en-GB" sz="1400" dirty="0"/>
                        <a:t>DIMENS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Length: minimum 140mm, maximum 240mm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400" dirty="0"/>
                        <a:t>Width: minimum 90mm, maximum 165m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7761174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ITEM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ximum weight 100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373415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WEIG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inimum 150gsm – 190gs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6749211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PAPER THICK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0.13mm – 0.175mm recommended minimum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2270498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LAP SIZ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Not applicab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3409167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SEAL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ntinuous or spo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4701325"/>
                  </a:ext>
                </a:extLst>
              </a:tr>
              <a:tr h="325074">
                <a:tc>
                  <a:txBody>
                    <a:bodyPr/>
                    <a:lstStyle/>
                    <a:p>
                      <a:r>
                        <a:rPr lang="en-GB" sz="1400" dirty="0"/>
                        <a:t>FINI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Matt is preferred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234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5658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ABCA1-E2B2-40A1-8125-BDB353CB2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ific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C4D631-D2C6-46AE-8B56-836C4FAAFD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Finish for digitally printed postcard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EB7930-5F02-42D9-9347-6CA2A2724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38A8C96-FC76-4AA2-BB7C-D31D94B52DE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/>
              <a:t>When digital printing is used for mail the pigment may rub off , transfer to adjacent surfaces, crack and become marked both during the manual and automated handling processes.</a:t>
            </a:r>
          </a:p>
          <a:p>
            <a:r>
              <a:rPr lang="en-GB" dirty="0"/>
              <a:t>The application of an ultra violet (UV) cured varnish has been found to reduce the wear to digitally printed mail items.</a:t>
            </a:r>
          </a:p>
          <a:p>
            <a:r>
              <a:rPr lang="en-GB" dirty="0"/>
              <a:t>This provides a protective coating over the pigment.  It should only be applied to the non-addressed side of the postcard, as the characteristics of the varnish may make the mail unmachinable, if applied to both sides.</a:t>
            </a:r>
          </a:p>
          <a:p>
            <a:r>
              <a:rPr lang="en-GB" dirty="0"/>
              <a:t>The pressure exerted on the postcard during automated processing may cause colour offset on digitally printed items.  Therefore, it is recommended that there should be no off-set print or colour transfer when the item is exposed to a pressure of 3.43kPa (35g per cm2).  This equates to a weight of 8.5kg spread over the surface of a DL envelope, and 13.5kg for C5 envelopes.</a:t>
            </a:r>
          </a:p>
        </p:txBody>
      </p:sp>
    </p:spTree>
    <p:extLst>
      <p:ext uri="{BB962C8B-B14F-4D97-AF65-F5344CB8AC3E}">
        <p14:creationId xmlns:p14="http://schemas.microsoft.com/office/powerpoint/2010/main" val="4150142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0F2BD4-E263-4A22-B201-B1F49AC1E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00B16B-33DD-475B-B225-0098606DF00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7AB457-0378-4161-8B97-F13ED47D97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97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owser*internet*wireframe*technology*digital*computer*website*web*connection*browsing*search*goo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CIRCULAR_ARROW_KEY" val="POWER_USER_DIAGRAM_CIRCULAR_ARROW_VALUE_7"/>
</p:tagLst>
</file>

<file path=ppt/theme/theme1.xml><?xml version="1.0" encoding="utf-8"?>
<a:theme xmlns:a="http://schemas.openxmlformats.org/drawingml/2006/main" name="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CF4A4FD234468DD412F3CF334B34" ma:contentTypeVersion="5" ma:contentTypeDescription="Create a new document." ma:contentTypeScope="" ma:versionID="7c5298e035e3abb700d4d2719f1bcc92">
  <xsd:schema xmlns:xsd="http://www.w3.org/2001/XMLSchema" xmlns:xs="http://www.w3.org/2001/XMLSchema" xmlns:p="http://schemas.microsoft.com/office/2006/metadata/properties" xmlns:ns2="4be9f171-eef0-4f28-8842-fd062038bb63" targetNamespace="http://schemas.microsoft.com/office/2006/metadata/properties" ma:root="true" ma:fieldsID="7c48febbddd040c151bb22673fcc65ec" ns2:_="">
    <xsd:import namespace="4be9f171-eef0-4f28-8842-fd062038bb6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e9f171-eef0-4f28-8842-fd062038bb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11A0B5A-0F16-41B3-8A2F-1F42330CA88E}">
  <ds:schemaRefs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terms/"/>
    <ds:schemaRef ds:uri="4be9f171-eef0-4f28-8842-fd062038bb63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98848BB-50DE-4E57-9CA8-7CC896B952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e9f171-eef0-4f28-8842-fd062038bb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59F9721-E688-41FE-A6C0-BAFCE096F8E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765</Words>
  <Application>Microsoft Office PowerPoint</Application>
  <PresentationFormat>Widescreen</PresentationFormat>
  <Paragraphs>149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Impact</vt:lpstr>
      <vt:lpstr>Wingdings</vt:lpstr>
      <vt:lpstr>Office Theme</vt:lpstr>
      <vt:lpstr>MACHINEABLE POSTCARDS AND ONE PIECE MAILING GUIDE WITH TEST AND INNOVATE</vt:lpstr>
      <vt:lpstr>Advertising mail test &amp; innovate</vt:lpstr>
      <vt:lpstr>PowerPoint Presentation</vt:lpstr>
      <vt:lpstr>Postcards</vt:lpstr>
      <vt:lpstr>Create a customer journey online to physical mail item</vt:lpstr>
      <vt:lpstr>The formats to choose from</vt:lpstr>
      <vt:lpstr>THE FORMATS TO CHOOSE FROM</vt:lpstr>
      <vt:lpstr>Specifica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9</cp:revision>
  <dcterms:created xsi:type="dcterms:W3CDTF">2018-10-03T11:19:32Z</dcterms:created>
  <dcterms:modified xsi:type="dcterms:W3CDTF">2023-12-11T13:2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CF4A4FD234468DD412F3CF334B34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3-12-11T13:29:29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/>
  </property>
  <property fmtid="{D5CDD505-2E9C-101B-9397-08002B2CF9AE}" pid="9" name="MSIP_Label_980f36f3-41a5-4f45-a6a2-e224f336accd_ContentBits">
    <vt:lpwstr>2</vt:lpwstr>
  </property>
</Properties>
</file>